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27"/>
  </p:notesMasterIdLst>
  <p:handoutMasterIdLst>
    <p:handoutMasterId r:id="rId28"/>
  </p:handoutMasterIdLst>
  <p:sldIdLst>
    <p:sldId id="256" r:id="rId5"/>
    <p:sldId id="2147375589" r:id="rId6"/>
    <p:sldId id="4848" r:id="rId7"/>
    <p:sldId id="2147375597" r:id="rId8"/>
    <p:sldId id="2147375600" r:id="rId9"/>
    <p:sldId id="2147375601" r:id="rId10"/>
    <p:sldId id="2147375615" r:id="rId11"/>
    <p:sldId id="2147375616" r:id="rId12"/>
    <p:sldId id="2147375602" r:id="rId13"/>
    <p:sldId id="2147375603" r:id="rId14"/>
    <p:sldId id="2147375604" r:id="rId15"/>
    <p:sldId id="2147375605" r:id="rId16"/>
    <p:sldId id="2147375606" r:id="rId17"/>
    <p:sldId id="2147375607" r:id="rId18"/>
    <p:sldId id="2147375608" r:id="rId19"/>
    <p:sldId id="2147375609" r:id="rId20"/>
    <p:sldId id="2147375610" r:id="rId21"/>
    <p:sldId id="2147375611" r:id="rId22"/>
    <p:sldId id="2147375612" r:id="rId23"/>
    <p:sldId id="2147375613" r:id="rId24"/>
    <p:sldId id="2147375614" r:id="rId25"/>
    <p:sldId id="1633" r:id="rId26"/>
  </p:sldIdLst>
  <p:sldSz cx="12192000" cy="6858000"/>
  <p:notesSz cx="6858000" cy="9144000"/>
  <p:custDataLst>
    <p:tags r:id="rId29"/>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840" userDrawn="1">
          <p15:clr>
            <a:srgbClr val="A4A3A4"/>
          </p15:clr>
        </p15:guide>
        <p15:guide id="3" orient="horz" pos="1296" userDrawn="1">
          <p15:clr>
            <a:srgbClr val="A4A3A4"/>
          </p15:clr>
        </p15:guide>
        <p15:guide id="4" pos="7368" userDrawn="1">
          <p15:clr>
            <a:srgbClr val="A4A3A4"/>
          </p15:clr>
        </p15:guide>
        <p15:guide id="5" orient="horz" pos="2448" userDrawn="1">
          <p15:clr>
            <a:srgbClr val="A4A3A4"/>
          </p15:clr>
        </p15:guide>
        <p15:guide id="6" pos="3792" userDrawn="1">
          <p15:clr>
            <a:srgbClr val="A4A3A4"/>
          </p15:clr>
        </p15:guide>
        <p15:guide id="7" pos="3912" userDrawn="1">
          <p15:clr>
            <a:srgbClr val="A4A3A4"/>
          </p15:clr>
        </p15:guide>
        <p15:guide id="8" pos="336" userDrawn="1">
          <p15:clr>
            <a:srgbClr val="A4A3A4"/>
          </p15:clr>
        </p15:guide>
        <p15:guide id="9" pos="2808" userDrawn="1">
          <p15:clr>
            <a:srgbClr val="A4A3A4"/>
          </p15:clr>
        </p15:guide>
        <p15:guide id="10" pos="2592"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9F80B698-1556-A878-72C9-39F4C38E8BCE}" name="Devayani Choubal" initials="DC" userId="S::devayani.choubal@u-next.com::53ae5dc1-82ed-4152-be5e-64c69001be2f"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Ronak Ron [UNext]" initials="RR[" lastIdx="0" clrIdx="0">
    <p:extLst>
      <p:ext uri="{19B8F6BF-5375-455C-9EA6-DF929625EA0E}">
        <p15:presenceInfo xmlns:p15="http://schemas.microsoft.com/office/powerpoint/2012/main" userId="S-1-5-21-3050109315-2652681210-1900103164-6583"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33246"/>
    <a:srgbClr val="FF6600"/>
    <a:srgbClr val="595959"/>
    <a:srgbClr val="EDBD95"/>
    <a:srgbClr val="DFC597"/>
    <a:srgbClr val="CDCB99"/>
    <a:srgbClr val="A1A1A1"/>
    <a:srgbClr val="767171"/>
    <a:srgbClr val="323335"/>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15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980AF270-BCF9-4F8F-B3E8-879A80E43E88}" v="82" dt="2024-08-30T14:41:31.287"/>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775DCB02-9BB8-47FD-8907-85C794F793BA}" styleName="Themed Style 1 - Acc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5" autoAdjust="0"/>
    <p:restoredTop sz="93447" autoAdjust="0"/>
  </p:normalViewPr>
  <p:slideViewPr>
    <p:cSldViewPr snapToGrid="0">
      <p:cViewPr varScale="1">
        <p:scale>
          <a:sx n="63" d="100"/>
          <a:sy n="63" d="100"/>
        </p:scale>
        <p:origin x="804" y="56"/>
      </p:cViewPr>
      <p:guideLst>
        <p:guide orient="horz" pos="840"/>
        <p:guide orient="horz" pos="1296"/>
        <p:guide pos="7368"/>
        <p:guide orient="horz" pos="2448"/>
        <p:guide pos="3792"/>
        <p:guide pos="3912"/>
        <p:guide pos="336"/>
        <p:guide pos="2808"/>
        <p:guide pos="2592"/>
      </p:guideLst>
    </p:cSldViewPr>
  </p:slideViewPr>
  <p:notesTextViewPr>
    <p:cViewPr>
      <p:scale>
        <a:sx n="1" d="1"/>
        <a:sy n="1" d="1"/>
      </p:scale>
      <p:origin x="0" y="0"/>
    </p:cViewPr>
  </p:notesTextViewPr>
  <p:sorterViewPr>
    <p:cViewPr>
      <p:scale>
        <a:sx n="50" d="100"/>
        <a:sy n="50" d="100"/>
      </p:scale>
      <p:origin x="0" y="0"/>
    </p:cViewPr>
  </p:sorterViewPr>
  <p:notesViewPr>
    <p:cSldViewPr snapToGrid="0">
      <p:cViewPr varScale="1">
        <p:scale>
          <a:sx n="49" d="100"/>
          <a:sy n="49" d="100"/>
        </p:scale>
        <p:origin x="2910" y="6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21" Type="http://schemas.openxmlformats.org/officeDocument/2006/relationships/slide" Target="slides/slide17.xml"/><Relationship Id="rId34" Type="http://schemas.openxmlformats.org/officeDocument/2006/relationships/tableStyles" Target="tableStyle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tags" Target="tags/tag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viewProps" Target="viewProps.xml"/><Relationship Id="rId37" Type="http://schemas.microsoft.com/office/2018/10/relationships/authors" Target="author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handoutMaster" Target="handoutMasters/handoutMaster1.xml"/><Relationship Id="rId36" Type="http://schemas.microsoft.com/office/2015/10/relationships/revisionInfo" Target="revisionInfo.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notesMaster" Target="notesMasters/notesMaster1.xml"/><Relationship Id="rId30" Type="http://schemas.openxmlformats.org/officeDocument/2006/relationships/commentAuthors" Target="commentAuthors.xml"/><Relationship Id="rId35" Type="http://schemas.microsoft.com/office/2016/11/relationships/changesInfo" Target="changesInfos/changesInfo1.xml"/><Relationship Id="rId8" Type="http://schemas.openxmlformats.org/officeDocument/2006/relationships/slide" Target="slides/slide4.xml"/><Relationship Id="rId3" Type="http://schemas.openxmlformats.org/officeDocument/2006/relationships/customXml" Target="../customXml/item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Bhushan Madapura [UNext]" userId="2baadad7-7b8e-4632-a62a-dff9a334b569" providerId="ADAL" clId="{F6E155E8-D84C-463E-A3B7-5CF65E1FB393}"/>
    <pc:docChg chg="undo redo custSel addSld delSld modSld">
      <pc:chgData name="Bhushan Madapura [UNext]" userId="2baadad7-7b8e-4632-a62a-dff9a334b569" providerId="ADAL" clId="{F6E155E8-D84C-463E-A3B7-5CF65E1FB393}" dt="2024-08-26T15:20:53.723" v="1693" actId="20577"/>
      <pc:docMkLst>
        <pc:docMk/>
      </pc:docMkLst>
      <pc:sldChg chg="modSp mod">
        <pc:chgData name="Bhushan Madapura [UNext]" userId="2baadad7-7b8e-4632-a62a-dff9a334b569" providerId="ADAL" clId="{F6E155E8-D84C-463E-A3B7-5CF65E1FB393}" dt="2024-08-26T14:53:21.466" v="9" actId="20577"/>
        <pc:sldMkLst>
          <pc:docMk/>
          <pc:sldMk cId="3267775274" sldId="256"/>
        </pc:sldMkLst>
        <pc:spChg chg="mod">
          <ac:chgData name="Bhushan Madapura [UNext]" userId="2baadad7-7b8e-4632-a62a-dff9a334b569" providerId="ADAL" clId="{F6E155E8-D84C-463E-A3B7-5CF65E1FB393}" dt="2024-08-26T14:52:56.842" v="0"/>
          <ac:spMkLst>
            <pc:docMk/>
            <pc:sldMk cId="3267775274" sldId="256"/>
            <ac:spMk id="6" creationId="{0C37A4A8-A3C7-407F-B123-88E2E165C827}"/>
          </ac:spMkLst>
        </pc:spChg>
        <pc:spChg chg="mod">
          <ac:chgData name="Bhushan Madapura [UNext]" userId="2baadad7-7b8e-4632-a62a-dff9a334b569" providerId="ADAL" clId="{F6E155E8-D84C-463E-A3B7-5CF65E1FB393}" dt="2024-08-26T14:53:10.018" v="7" actId="6549"/>
          <ac:spMkLst>
            <pc:docMk/>
            <pc:sldMk cId="3267775274" sldId="256"/>
            <ac:spMk id="12" creationId="{8A24547F-8A92-CDC5-A578-3733390534F2}"/>
          </ac:spMkLst>
        </pc:spChg>
        <pc:spChg chg="mod">
          <ac:chgData name="Bhushan Madapura [UNext]" userId="2baadad7-7b8e-4632-a62a-dff9a334b569" providerId="ADAL" clId="{F6E155E8-D84C-463E-A3B7-5CF65E1FB393}" dt="2024-08-26T14:53:21.466" v="9" actId="20577"/>
          <ac:spMkLst>
            <pc:docMk/>
            <pc:sldMk cId="3267775274" sldId="256"/>
            <ac:spMk id="13" creationId="{C48F8DD6-A1B3-8126-FAC3-218B712C7FFB}"/>
          </ac:spMkLst>
        </pc:spChg>
      </pc:sldChg>
      <pc:sldChg chg="del">
        <pc:chgData name="Bhushan Madapura [UNext]" userId="2baadad7-7b8e-4632-a62a-dff9a334b569" providerId="ADAL" clId="{F6E155E8-D84C-463E-A3B7-5CF65E1FB393}" dt="2024-08-26T15:18:23.800" v="1579" actId="47"/>
        <pc:sldMkLst>
          <pc:docMk/>
          <pc:sldMk cId="1394078451" sldId="308"/>
        </pc:sldMkLst>
      </pc:sldChg>
      <pc:sldChg chg="del">
        <pc:chgData name="Bhushan Madapura [UNext]" userId="2baadad7-7b8e-4632-a62a-dff9a334b569" providerId="ADAL" clId="{F6E155E8-D84C-463E-A3B7-5CF65E1FB393}" dt="2024-08-26T15:18:34.709" v="1596" actId="47"/>
        <pc:sldMkLst>
          <pc:docMk/>
          <pc:sldMk cId="1725335015" sldId="1645"/>
        </pc:sldMkLst>
      </pc:sldChg>
      <pc:sldChg chg="del">
        <pc:chgData name="Bhushan Madapura [UNext]" userId="2baadad7-7b8e-4632-a62a-dff9a334b569" providerId="ADAL" clId="{F6E155E8-D84C-463E-A3B7-5CF65E1FB393}" dt="2024-08-26T15:18:32.981" v="1594" actId="47"/>
        <pc:sldMkLst>
          <pc:docMk/>
          <pc:sldMk cId="1552476259" sldId="1648"/>
        </pc:sldMkLst>
      </pc:sldChg>
      <pc:sldChg chg="del">
        <pc:chgData name="Bhushan Madapura [UNext]" userId="2baadad7-7b8e-4632-a62a-dff9a334b569" providerId="ADAL" clId="{F6E155E8-D84C-463E-A3B7-5CF65E1FB393}" dt="2024-08-26T15:18:22.848" v="1577" actId="47"/>
        <pc:sldMkLst>
          <pc:docMk/>
          <pc:sldMk cId="3646793929" sldId="1651"/>
        </pc:sldMkLst>
      </pc:sldChg>
      <pc:sldChg chg="del">
        <pc:chgData name="Bhushan Madapura [UNext]" userId="2baadad7-7b8e-4632-a62a-dff9a334b569" providerId="ADAL" clId="{F6E155E8-D84C-463E-A3B7-5CF65E1FB393}" dt="2024-08-26T15:18:32.240" v="1593" actId="47"/>
        <pc:sldMkLst>
          <pc:docMk/>
          <pc:sldMk cId="871558929" sldId="1652"/>
        </pc:sldMkLst>
      </pc:sldChg>
      <pc:sldChg chg="del">
        <pc:chgData name="Bhushan Madapura [UNext]" userId="2baadad7-7b8e-4632-a62a-dff9a334b569" providerId="ADAL" clId="{F6E155E8-D84C-463E-A3B7-5CF65E1FB393}" dt="2024-08-26T15:18:35.420" v="1597" actId="47"/>
        <pc:sldMkLst>
          <pc:docMk/>
          <pc:sldMk cId="2492084971" sldId="1654"/>
        </pc:sldMkLst>
      </pc:sldChg>
      <pc:sldChg chg="del">
        <pc:chgData name="Bhushan Madapura [UNext]" userId="2baadad7-7b8e-4632-a62a-dff9a334b569" providerId="ADAL" clId="{F6E155E8-D84C-463E-A3B7-5CF65E1FB393}" dt="2024-08-26T15:18:36.082" v="1598" actId="47"/>
        <pc:sldMkLst>
          <pc:docMk/>
          <pc:sldMk cId="492688201" sldId="1656"/>
        </pc:sldMkLst>
      </pc:sldChg>
      <pc:sldChg chg="del">
        <pc:chgData name="Bhushan Madapura [UNext]" userId="2baadad7-7b8e-4632-a62a-dff9a334b569" providerId="ADAL" clId="{F6E155E8-D84C-463E-A3B7-5CF65E1FB393}" dt="2024-08-26T15:18:36.717" v="1599" actId="47"/>
        <pc:sldMkLst>
          <pc:docMk/>
          <pc:sldMk cId="251692743" sldId="1657"/>
        </pc:sldMkLst>
      </pc:sldChg>
      <pc:sldChg chg="del">
        <pc:chgData name="Bhushan Madapura [UNext]" userId="2baadad7-7b8e-4632-a62a-dff9a334b569" providerId="ADAL" clId="{F6E155E8-D84C-463E-A3B7-5CF65E1FB393}" dt="2024-08-26T15:18:22.125" v="1574" actId="47"/>
        <pc:sldMkLst>
          <pc:docMk/>
          <pc:sldMk cId="1502717962" sldId="1660"/>
        </pc:sldMkLst>
      </pc:sldChg>
      <pc:sldChg chg="addSp modSp mod">
        <pc:chgData name="Bhushan Madapura [UNext]" userId="2baadad7-7b8e-4632-a62a-dff9a334b569" providerId="ADAL" clId="{F6E155E8-D84C-463E-A3B7-5CF65E1FB393}" dt="2024-08-26T14:55:15.903" v="92" actId="207"/>
        <pc:sldMkLst>
          <pc:docMk/>
          <pc:sldMk cId="942789877" sldId="4848"/>
        </pc:sldMkLst>
        <pc:spChg chg="mod">
          <ac:chgData name="Bhushan Madapura [UNext]" userId="2baadad7-7b8e-4632-a62a-dff9a334b569" providerId="ADAL" clId="{F6E155E8-D84C-463E-A3B7-5CF65E1FB393}" dt="2024-08-26T14:54:53.634" v="90"/>
          <ac:spMkLst>
            <pc:docMk/>
            <pc:sldMk cId="942789877" sldId="4848"/>
            <ac:spMk id="3" creationId="{C02D07F7-B946-BB66-E6EA-DD92C38B1926}"/>
          </ac:spMkLst>
        </pc:spChg>
        <pc:picChg chg="add mod">
          <ac:chgData name="Bhushan Madapura [UNext]" userId="2baadad7-7b8e-4632-a62a-dff9a334b569" providerId="ADAL" clId="{F6E155E8-D84C-463E-A3B7-5CF65E1FB393}" dt="2024-08-26T14:55:15.903" v="92" actId="207"/>
          <ac:picMkLst>
            <pc:docMk/>
            <pc:sldMk cId="942789877" sldId="4848"/>
            <ac:picMk id="2" creationId="{5ED103A7-D95B-E42C-6356-53269A110E83}"/>
          </ac:picMkLst>
        </pc:picChg>
      </pc:sldChg>
      <pc:sldChg chg="del">
        <pc:chgData name="Bhushan Madapura [UNext]" userId="2baadad7-7b8e-4632-a62a-dff9a334b569" providerId="ADAL" clId="{F6E155E8-D84C-463E-A3B7-5CF65E1FB393}" dt="2024-08-26T15:18:20.088" v="1566" actId="47"/>
        <pc:sldMkLst>
          <pc:docMk/>
          <pc:sldMk cId="1692425821" sldId="4863"/>
        </pc:sldMkLst>
      </pc:sldChg>
      <pc:sldChg chg="del">
        <pc:chgData name="Bhushan Madapura [UNext]" userId="2baadad7-7b8e-4632-a62a-dff9a334b569" providerId="ADAL" clId="{F6E155E8-D84C-463E-A3B7-5CF65E1FB393}" dt="2024-08-26T15:18:21.098" v="1569" actId="47"/>
        <pc:sldMkLst>
          <pc:docMk/>
          <pc:sldMk cId="993584579" sldId="4972"/>
        </pc:sldMkLst>
      </pc:sldChg>
      <pc:sldChg chg="del">
        <pc:chgData name="Bhushan Madapura [UNext]" userId="2baadad7-7b8e-4632-a62a-dff9a334b569" providerId="ADAL" clId="{F6E155E8-D84C-463E-A3B7-5CF65E1FB393}" dt="2024-08-26T15:18:21.492" v="1571" actId="47"/>
        <pc:sldMkLst>
          <pc:docMk/>
          <pc:sldMk cId="754838326" sldId="4973"/>
        </pc:sldMkLst>
      </pc:sldChg>
      <pc:sldChg chg="del">
        <pc:chgData name="Bhushan Madapura [UNext]" userId="2baadad7-7b8e-4632-a62a-dff9a334b569" providerId="ADAL" clId="{F6E155E8-D84C-463E-A3B7-5CF65E1FB393}" dt="2024-08-26T15:18:21.697" v="1572" actId="47"/>
        <pc:sldMkLst>
          <pc:docMk/>
          <pc:sldMk cId="3971984793" sldId="4974"/>
        </pc:sldMkLst>
      </pc:sldChg>
      <pc:sldChg chg="del">
        <pc:chgData name="Bhushan Madapura [UNext]" userId="2baadad7-7b8e-4632-a62a-dff9a334b569" providerId="ADAL" clId="{F6E155E8-D84C-463E-A3B7-5CF65E1FB393}" dt="2024-08-26T15:18:21.903" v="1573" actId="47"/>
        <pc:sldMkLst>
          <pc:docMk/>
          <pc:sldMk cId="891875669" sldId="2147375326"/>
        </pc:sldMkLst>
      </pc:sldChg>
      <pc:sldChg chg="del">
        <pc:chgData name="Bhushan Madapura [UNext]" userId="2baadad7-7b8e-4632-a62a-dff9a334b569" providerId="ADAL" clId="{F6E155E8-D84C-463E-A3B7-5CF65E1FB393}" dt="2024-08-26T15:18:22.328" v="1575" actId="47"/>
        <pc:sldMkLst>
          <pc:docMk/>
          <pc:sldMk cId="2000669452" sldId="2147375394"/>
        </pc:sldMkLst>
      </pc:sldChg>
      <pc:sldChg chg="del">
        <pc:chgData name="Bhushan Madapura [UNext]" userId="2baadad7-7b8e-4632-a62a-dff9a334b569" providerId="ADAL" clId="{F6E155E8-D84C-463E-A3B7-5CF65E1FB393}" dt="2024-08-26T15:18:20.848" v="1568" actId="47"/>
        <pc:sldMkLst>
          <pc:docMk/>
          <pc:sldMk cId="1855469294" sldId="2147375439"/>
        </pc:sldMkLst>
      </pc:sldChg>
      <pc:sldChg chg="del">
        <pc:chgData name="Bhushan Madapura [UNext]" userId="2baadad7-7b8e-4632-a62a-dff9a334b569" providerId="ADAL" clId="{F6E155E8-D84C-463E-A3B7-5CF65E1FB393}" dt="2024-08-26T15:18:20.530" v="1567" actId="47"/>
        <pc:sldMkLst>
          <pc:docMk/>
          <pc:sldMk cId="1748775088" sldId="2147375444"/>
        </pc:sldMkLst>
      </pc:sldChg>
      <pc:sldChg chg="del">
        <pc:chgData name="Bhushan Madapura [UNext]" userId="2baadad7-7b8e-4632-a62a-dff9a334b569" providerId="ADAL" clId="{F6E155E8-D84C-463E-A3B7-5CF65E1FB393}" dt="2024-08-26T15:18:28.566" v="1586" actId="47"/>
        <pc:sldMkLst>
          <pc:docMk/>
          <pc:sldMk cId="2936957564" sldId="2147375476"/>
        </pc:sldMkLst>
      </pc:sldChg>
      <pc:sldChg chg="del">
        <pc:chgData name="Bhushan Madapura [UNext]" userId="2baadad7-7b8e-4632-a62a-dff9a334b569" providerId="ADAL" clId="{F6E155E8-D84C-463E-A3B7-5CF65E1FB393}" dt="2024-08-26T15:18:29.073" v="1587" actId="47"/>
        <pc:sldMkLst>
          <pc:docMk/>
          <pc:sldMk cId="2271413475" sldId="2147375477"/>
        </pc:sldMkLst>
      </pc:sldChg>
      <pc:sldChg chg="del">
        <pc:chgData name="Bhushan Madapura [UNext]" userId="2baadad7-7b8e-4632-a62a-dff9a334b569" providerId="ADAL" clId="{F6E155E8-D84C-463E-A3B7-5CF65E1FB393}" dt="2024-08-26T15:18:27.853" v="1585" actId="47"/>
        <pc:sldMkLst>
          <pc:docMk/>
          <pc:sldMk cId="1948523315" sldId="2147375478"/>
        </pc:sldMkLst>
      </pc:sldChg>
      <pc:sldChg chg="del">
        <pc:chgData name="Bhushan Madapura [UNext]" userId="2baadad7-7b8e-4632-a62a-dff9a334b569" providerId="ADAL" clId="{F6E155E8-D84C-463E-A3B7-5CF65E1FB393}" dt="2024-08-26T15:18:29.481" v="1588" actId="47"/>
        <pc:sldMkLst>
          <pc:docMk/>
          <pc:sldMk cId="1431467204" sldId="2147375479"/>
        </pc:sldMkLst>
      </pc:sldChg>
      <pc:sldChg chg="del">
        <pc:chgData name="Bhushan Madapura [UNext]" userId="2baadad7-7b8e-4632-a62a-dff9a334b569" providerId="ADAL" clId="{F6E155E8-D84C-463E-A3B7-5CF65E1FB393}" dt="2024-08-26T15:18:30.589" v="1590" actId="47"/>
        <pc:sldMkLst>
          <pc:docMk/>
          <pc:sldMk cId="3318051497" sldId="2147375481"/>
        </pc:sldMkLst>
      </pc:sldChg>
      <pc:sldChg chg="del">
        <pc:chgData name="Bhushan Madapura [UNext]" userId="2baadad7-7b8e-4632-a62a-dff9a334b569" providerId="ADAL" clId="{F6E155E8-D84C-463E-A3B7-5CF65E1FB393}" dt="2024-08-26T15:18:21.272" v="1570" actId="47"/>
        <pc:sldMkLst>
          <pc:docMk/>
          <pc:sldMk cId="3547742170" sldId="2147375581"/>
        </pc:sldMkLst>
      </pc:sldChg>
      <pc:sldChg chg="del">
        <pc:chgData name="Bhushan Madapura [UNext]" userId="2baadad7-7b8e-4632-a62a-dff9a334b569" providerId="ADAL" clId="{F6E155E8-D84C-463E-A3B7-5CF65E1FB393}" dt="2024-08-26T15:18:23.497" v="1578" actId="47"/>
        <pc:sldMkLst>
          <pc:docMk/>
          <pc:sldMk cId="1740909126" sldId="2147375582"/>
        </pc:sldMkLst>
      </pc:sldChg>
      <pc:sldChg chg="del">
        <pc:chgData name="Bhushan Madapura [UNext]" userId="2baadad7-7b8e-4632-a62a-dff9a334b569" providerId="ADAL" clId="{F6E155E8-D84C-463E-A3B7-5CF65E1FB393}" dt="2024-08-26T15:18:22.596" v="1576" actId="47"/>
        <pc:sldMkLst>
          <pc:docMk/>
          <pc:sldMk cId="3598530651" sldId="2147375584"/>
        </pc:sldMkLst>
      </pc:sldChg>
      <pc:sldChg chg="del">
        <pc:chgData name="Bhushan Madapura [UNext]" userId="2baadad7-7b8e-4632-a62a-dff9a334b569" providerId="ADAL" clId="{F6E155E8-D84C-463E-A3B7-5CF65E1FB393}" dt="2024-08-26T15:18:26.947" v="1584" actId="47"/>
        <pc:sldMkLst>
          <pc:docMk/>
          <pc:sldMk cId="2188182216" sldId="2147375585"/>
        </pc:sldMkLst>
      </pc:sldChg>
      <pc:sldChg chg="del">
        <pc:chgData name="Bhushan Madapura [UNext]" userId="2baadad7-7b8e-4632-a62a-dff9a334b569" providerId="ADAL" clId="{F6E155E8-D84C-463E-A3B7-5CF65E1FB393}" dt="2024-08-26T15:18:31.172" v="1591" actId="47"/>
        <pc:sldMkLst>
          <pc:docMk/>
          <pc:sldMk cId="36437265" sldId="2147375586"/>
        </pc:sldMkLst>
      </pc:sldChg>
      <pc:sldChg chg="del">
        <pc:chgData name="Bhushan Madapura [UNext]" userId="2baadad7-7b8e-4632-a62a-dff9a334b569" providerId="ADAL" clId="{F6E155E8-D84C-463E-A3B7-5CF65E1FB393}" dt="2024-08-26T15:18:31.709" v="1592" actId="47"/>
        <pc:sldMkLst>
          <pc:docMk/>
          <pc:sldMk cId="1206403439" sldId="2147375588"/>
        </pc:sldMkLst>
      </pc:sldChg>
      <pc:sldChg chg="addSp delSp modSp mod">
        <pc:chgData name="Bhushan Madapura [UNext]" userId="2baadad7-7b8e-4632-a62a-dff9a334b569" providerId="ADAL" clId="{F6E155E8-D84C-463E-A3B7-5CF65E1FB393}" dt="2024-08-26T14:54:33.743" v="89" actId="1076"/>
        <pc:sldMkLst>
          <pc:docMk/>
          <pc:sldMk cId="867832184" sldId="2147375589"/>
        </pc:sldMkLst>
        <pc:spChg chg="del">
          <ac:chgData name="Bhushan Madapura [UNext]" userId="2baadad7-7b8e-4632-a62a-dff9a334b569" providerId="ADAL" clId="{F6E155E8-D84C-463E-A3B7-5CF65E1FB393}" dt="2024-08-26T14:53:59.980" v="83" actId="478"/>
          <ac:spMkLst>
            <pc:docMk/>
            <pc:sldMk cId="867832184" sldId="2147375589"/>
            <ac:spMk id="2" creationId="{3E5D74AE-156F-5417-16F3-ADC1D4A285C2}"/>
          </ac:spMkLst>
        </pc:spChg>
        <pc:spChg chg="mod">
          <ac:chgData name="Bhushan Madapura [UNext]" userId="2baadad7-7b8e-4632-a62a-dff9a334b569" providerId="ADAL" clId="{F6E155E8-D84C-463E-A3B7-5CF65E1FB393}" dt="2024-08-26T14:53:53.243" v="58" actId="948"/>
          <ac:spMkLst>
            <pc:docMk/>
            <pc:sldMk cId="867832184" sldId="2147375589"/>
            <ac:spMk id="3" creationId="{56243872-C66F-EDEB-B185-CE420E5D6837}"/>
          </ac:spMkLst>
        </pc:spChg>
        <pc:spChg chg="add del mod modVis">
          <ac:chgData name="Bhushan Madapura [UNext]" userId="2baadad7-7b8e-4632-a62a-dff9a334b569" providerId="ADAL" clId="{F6E155E8-D84C-463E-A3B7-5CF65E1FB393}" dt="2024-08-26T14:53:52.185" v="53"/>
          <ac:spMkLst>
            <pc:docMk/>
            <pc:sldMk cId="867832184" sldId="2147375589"/>
            <ac:spMk id="6" creationId="{E985ACA9-BD27-57E4-972F-2E18A2EAA089}"/>
          </ac:spMkLst>
        </pc:spChg>
        <pc:spChg chg="add del mod modVis">
          <ac:chgData name="Bhushan Madapura [UNext]" userId="2baadad7-7b8e-4632-a62a-dff9a334b569" providerId="ADAL" clId="{F6E155E8-D84C-463E-A3B7-5CF65E1FB393}" dt="2024-08-26T14:53:53.278" v="80"/>
          <ac:spMkLst>
            <pc:docMk/>
            <pc:sldMk cId="867832184" sldId="2147375589"/>
            <ac:spMk id="7" creationId="{3C6E01C3-7758-FFDE-AC83-69EC3A31E361}"/>
          </ac:spMkLst>
        </pc:spChg>
        <pc:spChg chg="add del mod">
          <ac:chgData name="Bhushan Madapura [UNext]" userId="2baadad7-7b8e-4632-a62a-dff9a334b569" providerId="ADAL" clId="{F6E155E8-D84C-463E-A3B7-5CF65E1FB393}" dt="2024-08-26T14:54:05.085" v="84" actId="478"/>
          <ac:spMkLst>
            <pc:docMk/>
            <pc:sldMk cId="867832184" sldId="2147375589"/>
            <ac:spMk id="9" creationId="{8B5DACBC-BCE7-F0F1-2093-E55AE93DB8C5}"/>
          </ac:spMkLst>
        </pc:spChg>
        <pc:spChg chg="add mod">
          <ac:chgData name="Bhushan Madapura [UNext]" userId="2baadad7-7b8e-4632-a62a-dff9a334b569" providerId="ADAL" clId="{F6E155E8-D84C-463E-A3B7-5CF65E1FB393}" dt="2024-08-26T14:54:33.743" v="89" actId="1076"/>
          <ac:spMkLst>
            <pc:docMk/>
            <pc:sldMk cId="867832184" sldId="2147375589"/>
            <ac:spMk id="10" creationId="{1119CB9E-042F-11E8-F683-654626D307B3}"/>
          </ac:spMkLst>
        </pc:spChg>
        <pc:spChg chg="add mod">
          <ac:chgData name="Bhushan Madapura [UNext]" userId="2baadad7-7b8e-4632-a62a-dff9a334b569" providerId="ADAL" clId="{F6E155E8-D84C-463E-A3B7-5CF65E1FB393}" dt="2024-08-26T14:54:33.743" v="89" actId="1076"/>
          <ac:spMkLst>
            <pc:docMk/>
            <pc:sldMk cId="867832184" sldId="2147375589"/>
            <ac:spMk id="11" creationId="{CE0DDF5F-FE47-F9A2-FE84-53B63DFF494D}"/>
          </ac:spMkLst>
        </pc:spChg>
        <pc:graphicFrameChg chg="add mod ord modVis">
          <ac:chgData name="Bhushan Madapura [UNext]" userId="2baadad7-7b8e-4632-a62a-dff9a334b569" providerId="ADAL" clId="{F6E155E8-D84C-463E-A3B7-5CF65E1FB393}" dt="2024-08-26T14:53:53.284" v="82"/>
          <ac:graphicFrameMkLst>
            <pc:docMk/>
            <pc:sldMk cId="867832184" sldId="2147375589"/>
            <ac:graphicFrameMk id="5" creationId="{595DA231-959C-B3E0-7DA4-876736A38BC8}"/>
          </ac:graphicFrameMkLst>
        </pc:graphicFrameChg>
      </pc:sldChg>
      <pc:sldChg chg="del">
        <pc:chgData name="Bhushan Madapura [UNext]" userId="2baadad7-7b8e-4632-a62a-dff9a334b569" providerId="ADAL" clId="{F6E155E8-D84C-463E-A3B7-5CF65E1FB393}" dt="2024-08-26T15:18:33.888" v="1595" actId="47"/>
        <pc:sldMkLst>
          <pc:docMk/>
          <pc:sldMk cId="4063798852" sldId="2147375590"/>
        </pc:sldMkLst>
      </pc:sldChg>
      <pc:sldChg chg="del">
        <pc:chgData name="Bhushan Madapura [UNext]" userId="2baadad7-7b8e-4632-a62a-dff9a334b569" providerId="ADAL" clId="{F6E155E8-D84C-463E-A3B7-5CF65E1FB393}" dt="2024-08-26T15:18:30.019" v="1589" actId="47"/>
        <pc:sldMkLst>
          <pc:docMk/>
          <pc:sldMk cId="2056421860" sldId="2147375591"/>
        </pc:sldMkLst>
      </pc:sldChg>
      <pc:sldChg chg="del">
        <pc:chgData name="Bhushan Madapura [UNext]" userId="2baadad7-7b8e-4632-a62a-dff9a334b569" providerId="ADAL" clId="{F6E155E8-D84C-463E-A3B7-5CF65E1FB393}" dt="2024-08-26T15:18:24.722" v="1580" actId="47"/>
        <pc:sldMkLst>
          <pc:docMk/>
          <pc:sldMk cId="31081095" sldId="2147375592"/>
        </pc:sldMkLst>
      </pc:sldChg>
      <pc:sldChg chg="del">
        <pc:chgData name="Bhushan Madapura [UNext]" userId="2baadad7-7b8e-4632-a62a-dff9a334b569" providerId="ADAL" clId="{F6E155E8-D84C-463E-A3B7-5CF65E1FB393}" dt="2024-08-26T15:18:26.308" v="1583" actId="47"/>
        <pc:sldMkLst>
          <pc:docMk/>
          <pc:sldMk cId="1667871994" sldId="2147375593"/>
        </pc:sldMkLst>
      </pc:sldChg>
      <pc:sldChg chg="del">
        <pc:chgData name="Bhushan Madapura [UNext]" userId="2baadad7-7b8e-4632-a62a-dff9a334b569" providerId="ADAL" clId="{F6E155E8-D84C-463E-A3B7-5CF65E1FB393}" dt="2024-08-26T15:18:25.752" v="1582" actId="47"/>
        <pc:sldMkLst>
          <pc:docMk/>
          <pc:sldMk cId="3735680803" sldId="2147375594"/>
        </pc:sldMkLst>
      </pc:sldChg>
      <pc:sldChg chg="del">
        <pc:chgData name="Bhushan Madapura [UNext]" userId="2baadad7-7b8e-4632-a62a-dff9a334b569" providerId="ADAL" clId="{F6E155E8-D84C-463E-A3B7-5CF65E1FB393}" dt="2024-08-26T15:18:25.232" v="1581" actId="47"/>
        <pc:sldMkLst>
          <pc:docMk/>
          <pc:sldMk cId="349082050" sldId="2147375595"/>
        </pc:sldMkLst>
      </pc:sldChg>
      <pc:sldChg chg="addSp delSp modSp add del mod modAnim">
        <pc:chgData name="Bhushan Madapura [UNext]" userId="2baadad7-7b8e-4632-a62a-dff9a334b569" providerId="ADAL" clId="{F6E155E8-D84C-463E-A3B7-5CF65E1FB393}" dt="2024-08-26T15:00:51.500" v="369" actId="47"/>
        <pc:sldMkLst>
          <pc:docMk/>
          <pc:sldMk cId="377409641" sldId="2147375596"/>
        </pc:sldMkLst>
        <pc:spChg chg="mod">
          <ac:chgData name="Bhushan Madapura [UNext]" userId="2baadad7-7b8e-4632-a62a-dff9a334b569" providerId="ADAL" clId="{F6E155E8-D84C-463E-A3B7-5CF65E1FB393}" dt="2024-08-26T14:56:07.854" v="95"/>
          <ac:spMkLst>
            <pc:docMk/>
            <pc:sldMk cId="377409641" sldId="2147375596"/>
            <ac:spMk id="5" creationId="{D4A1C201-A8E3-A5B8-392B-6A156C551447}"/>
          </ac:spMkLst>
        </pc:spChg>
        <pc:spChg chg="del">
          <ac:chgData name="Bhushan Madapura [UNext]" userId="2baadad7-7b8e-4632-a62a-dff9a334b569" providerId="ADAL" clId="{F6E155E8-D84C-463E-A3B7-5CF65E1FB393}" dt="2024-08-26T14:55:53.779" v="94" actId="478"/>
          <ac:spMkLst>
            <pc:docMk/>
            <pc:sldMk cId="377409641" sldId="2147375596"/>
            <ac:spMk id="6" creationId="{EBF80831-5721-AB0F-97D6-1B5D662DB65C}"/>
          </ac:spMkLst>
        </pc:spChg>
        <pc:spChg chg="del">
          <ac:chgData name="Bhushan Madapura [UNext]" userId="2baadad7-7b8e-4632-a62a-dff9a334b569" providerId="ADAL" clId="{F6E155E8-D84C-463E-A3B7-5CF65E1FB393}" dt="2024-08-26T14:55:53.779" v="94" actId="478"/>
          <ac:spMkLst>
            <pc:docMk/>
            <pc:sldMk cId="377409641" sldId="2147375596"/>
            <ac:spMk id="7" creationId="{2F827B21-D247-0A53-0978-F895C5B8B98B}"/>
          </ac:spMkLst>
        </pc:spChg>
        <pc:picChg chg="add mod">
          <ac:chgData name="Bhushan Madapura [UNext]" userId="2baadad7-7b8e-4632-a62a-dff9a334b569" providerId="ADAL" clId="{F6E155E8-D84C-463E-A3B7-5CF65E1FB393}" dt="2024-08-26T14:56:21.672" v="97" actId="1076"/>
          <ac:picMkLst>
            <pc:docMk/>
            <pc:sldMk cId="377409641" sldId="2147375596"/>
            <ac:picMk id="2" creationId="{64EBC073-3E12-284A-A285-A40D9C9193C2}"/>
          </ac:picMkLst>
        </pc:picChg>
        <pc:picChg chg="del">
          <ac:chgData name="Bhushan Madapura [UNext]" userId="2baadad7-7b8e-4632-a62a-dff9a334b569" providerId="ADAL" clId="{F6E155E8-D84C-463E-A3B7-5CF65E1FB393}" dt="2024-08-26T14:55:53.779" v="94" actId="478"/>
          <ac:picMkLst>
            <pc:docMk/>
            <pc:sldMk cId="377409641" sldId="2147375596"/>
            <ac:picMk id="8" creationId="{E9EA5ED9-AC2E-F020-F31E-3C9592C3C17E}"/>
          </ac:picMkLst>
        </pc:picChg>
      </pc:sldChg>
      <pc:sldChg chg="addSp delSp modSp add mod">
        <pc:chgData name="Bhushan Madapura [UNext]" userId="2baadad7-7b8e-4632-a62a-dff9a334b569" providerId="ADAL" clId="{F6E155E8-D84C-463E-A3B7-5CF65E1FB393}" dt="2024-08-26T15:04:49.677" v="755" actId="242"/>
        <pc:sldMkLst>
          <pc:docMk/>
          <pc:sldMk cId="245881457" sldId="2147375597"/>
        </pc:sldMkLst>
        <pc:spChg chg="del">
          <ac:chgData name="Bhushan Madapura [UNext]" userId="2baadad7-7b8e-4632-a62a-dff9a334b569" providerId="ADAL" clId="{F6E155E8-D84C-463E-A3B7-5CF65E1FB393}" dt="2024-08-26T14:57:09.583" v="164" actId="478"/>
          <ac:spMkLst>
            <pc:docMk/>
            <pc:sldMk cId="245881457" sldId="2147375597"/>
            <ac:spMk id="2" creationId="{281FEA35-05E0-4EE2-9F35-79483FAB9621}"/>
          </ac:spMkLst>
        </pc:spChg>
        <pc:spChg chg="mod ord">
          <ac:chgData name="Bhushan Madapura [UNext]" userId="2baadad7-7b8e-4632-a62a-dff9a334b569" providerId="ADAL" clId="{F6E155E8-D84C-463E-A3B7-5CF65E1FB393}" dt="2024-08-26T15:02:40.450" v="555" actId="948"/>
          <ac:spMkLst>
            <pc:docMk/>
            <pc:sldMk cId="245881457" sldId="2147375597"/>
            <ac:spMk id="3" creationId="{CEA128C4-A0BC-A895-713C-306E7FF62894}"/>
          </ac:spMkLst>
        </pc:spChg>
        <pc:spChg chg="mod ord">
          <ac:chgData name="Bhushan Madapura [UNext]" userId="2baadad7-7b8e-4632-a62a-dff9a334b569" providerId="ADAL" clId="{F6E155E8-D84C-463E-A3B7-5CF65E1FB393}" dt="2024-08-26T14:57:41.351" v="173"/>
          <ac:spMkLst>
            <pc:docMk/>
            <pc:sldMk cId="245881457" sldId="2147375597"/>
            <ac:spMk id="4" creationId="{82193751-E94F-32C7-DCCA-7D3244D279EA}"/>
          </ac:spMkLst>
        </pc:spChg>
        <pc:spChg chg="add del mod modVis">
          <ac:chgData name="Bhushan Madapura [UNext]" userId="2baadad7-7b8e-4632-a62a-dff9a334b569" providerId="ADAL" clId="{F6E155E8-D84C-463E-A3B7-5CF65E1FB393}" dt="2024-08-26T14:56:57.480" v="122"/>
          <ac:spMkLst>
            <pc:docMk/>
            <pc:sldMk cId="245881457" sldId="2147375597"/>
            <ac:spMk id="5" creationId="{BFA05CA9-3863-9DF9-86D5-9FA64B2F43E1}"/>
          </ac:spMkLst>
        </pc:spChg>
        <pc:spChg chg="add del mod modVis">
          <ac:chgData name="Bhushan Madapura [UNext]" userId="2baadad7-7b8e-4632-a62a-dff9a334b569" providerId="ADAL" clId="{F6E155E8-D84C-463E-A3B7-5CF65E1FB393}" dt="2024-08-26T14:57:01.687" v="160"/>
          <ac:spMkLst>
            <pc:docMk/>
            <pc:sldMk cId="245881457" sldId="2147375597"/>
            <ac:spMk id="8" creationId="{6869AB80-C0C8-CE8B-7A15-3CF3B0FE9327}"/>
          </ac:spMkLst>
        </pc:spChg>
        <pc:spChg chg="add mod ord">
          <ac:chgData name="Bhushan Madapura [UNext]" userId="2baadad7-7b8e-4632-a62a-dff9a334b569" providerId="ADAL" clId="{F6E155E8-D84C-463E-A3B7-5CF65E1FB393}" dt="2024-08-26T14:59:13.062" v="228" actId="207"/>
          <ac:spMkLst>
            <pc:docMk/>
            <pc:sldMk cId="245881457" sldId="2147375597"/>
            <ac:spMk id="10" creationId="{8686D658-9330-BA20-4BC9-1E47EEC5B53D}"/>
          </ac:spMkLst>
        </pc:spChg>
        <pc:spChg chg="add mod">
          <ac:chgData name="Bhushan Madapura [UNext]" userId="2baadad7-7b8e-4632-a62a-dff9a334b569" providerId="ADAL" clId="{F6E155E8-D84C-463E-A3B7-5CF65E1FB393}" dt="2024-08-26T15:00:22.003" v="312" actId="207"/>
          <ac:spMkLst>
            <pc:docMk/>
            <pc:sldMk cId="245881457" sldId="2147375597"/>
            <ac:spMk id="11" creationId="{DE9F1BE0-7910-FA1B-DCE8-56EFD1E4FC09}"/>
          </ac:spMkLst>
        </pc:spChg>
        <pc:spChg chg="add mod">
          <ac:chgData name="Bhushan Madapura [UNext]" userId="2baadad7-7b8e-4632-a62a-dff9a334b569" providerId="ADAL" clId="{F6E155E8-D84C-463E-A3B7-5CF65E1FB393}" dt="2024-08-26T15:04:49.677" v="755" actId="242"/>
          <ac:spMkLst>
            <pc:docMk/>
            <pc:sldMk cId="245881457" sldId="2147375597"/>
            <ac:spMk id="12" creationId="{E53E5C3F-4D2B-B85F-E592-E58E032C664C}"/>
          </ac:spMkLst>
        </pc:spChg>
        <pc:spChg chg="add del mod modVis">
          <ac:chgData name="Bhushan Madapura [UNext]" userId="2baadad7-7b8e-4632-a62a-dff9a334b569" providerId="ADAL" clId="{F6E155E8-D84C-463E-A3B7-5CF65E1FB393}" dt="2024-08-26T15:02:28.736" v="438"/>
          <ac:spMkLst>
            <pc:docMk/>
            <pc:sldMk cId="245881457" sldId="2147375597"/>
            <ac:spMk id="13" creationId="{108F085C-3D35-E73E-BB1D-5A59DDF07807}"/>
          </ac:spMkLst>
        </pc:spChg>
        <pc:spChg chg="add del mod modVis">
          <ac:chgData name="Bhushan Madapura [UNext]" userId="2baadad7-7b8e-4632-a62a-dff9a334b569" providerId="ADAL" clId="{F6E155E8-D84C-463E-A3B7-5CF65E1FB393}" dt="2024-08-26T15:02:29.493" v="465"/>
          <ac:spMkLst>
            <pc:docMk/>
            <pc:sldMk cId="245881457" sldId="2147375597"/>
            <ac:spMk id="14" creationId="{FD077639-FA46-B2EB-4224-E6711B57240F}"/>
          </ac:spMkLst>
        </pc:spChg>
        <pc:spChg chg="add del mod modVis">
          <ac:chgData name="Bhushan Madapura [UNext]" userId="2baadad7-7b8e-4632-a62a-dff9a334b569" providerId="ADAL" clId="{F6E155E8-D84C-463E-A3B7-5CF65E1FB393}" dt="2024-08-26T15:02:30.865" v="493"/>
          <ac:spMkLst>
            <pc:docMk/>
            <pc:sldMk cId="245881457" sldId="2147375597"/>
            <ac:spMk id="15" creationId="{1E16E48F-964E-237C-2272-F1C5C3BD6DFB}"/>
          </ac:spMkLst>
        </pc:spChg>
        <pc:spChg chg="add del mod modVis">
          <ac:chgData name="Bhushan Madapura [UNext]" userId="2baadad7-7b8e-4632-a62a-dff9a334b569" providerId="ADAL" clId="{F6E155E8-D84C-463E-A3B7-5CF65E1FB393}" dt="2024-08-26T15:02:34.699" v="519"/>
          <ac:spMkLst>
            <pc:docMk/>
            <pc:sldMk cId="245881457" sldId="2147375597"/>
            <ac:spMk id="16" creationId="{2FB7EE4D-113A-28A8-38DA-B72C82A313B5}"/>
          </ac:spMkLst>
        </pc:spChg>
        <pc:spChg chg="add del mod modVis">
          <ac:chgData name="Bhushan Madapura [UNext]" userId="2baadad7-7b8e-4632-a62a-dff9a334b569" providerId="ADAL" clId="{F6E155E8-D84C-463E-A3B7-5CF65E1FB393}" dt="2024-08-26T15:02:39.441" v="548"/>
          <ac:spMkLst>
            <pc:docMk/>
            <pc:sldMk cId="245881457" sldId="2147375597"/>
            <ac:spMk id="17" creationId="{0D6A966C-30F1-101C-3E41-2B3BFDA2ADCE}"/>
          </ac:spMkLst>
        </pc:spChg>
        <pc:spChg chg="add del mod modVis">
          <ac:chgData name="Bhushan Madapura [UNext]" userId="2baadad7-7b8e-4632-a62a-dff9a334b569" providerId="ADAL" clId="{F6E155E8-D84C-463E-A3B7-5CF65E1FB393}" dt="2024-08-26T15:02:40.497" v="577"/>
          <ac:spMkLst>
            <pc:docMk/>
            <pc:sldMk cId="245881457" sldId="2147375597"/>
            <ac:spMk id="18" creationId="{83AE35D6-0BB2-4EAD-2978-28F7845B3D70}"/>
          </ac:spMkLst>
        </pc:spChg>
        <pc:graphicFrameChg chg="del">
          <ac:chgData name="Bhushan Madapura [UNext]" userId="2baadad7-7b8e-4632-a62a-dff9a334b569" providerId="ADAL" clId="{F6E155E8-D84C-463E-A3B7-5CF65E1FB393}" dt="2024-08-26T14:57:06.666" v="163" actId="478"/>
          <ac:graphicFrameMkLst>
            <pc:docMk/>
            <pc:sldMk cId="245881457" sldId="2147375597"/>
            <ac:graphicFrameMk id="6" creationId="{61C7CEDF-EBED-4F42-BCC0-1ACD4B4F27B8}"/>
          </ac:graphicFrameMkLst>
        </pc:graphicFrameChg>
        <pc:graphicFrameChg chg="add mod ord modVis">
          <ac:chgData name="Bhushan Madapura [UNext]" userId="2baadad7-7b8e-4632-a62a-dff9a334b569" providerId="ADAL" clId="{F6E155E8-D84C-463E-A3B7-5CF65E1FB393}" dt="2024-08-26T15:02:40.497" v="579"/>
          <ac:graphicFrameMkLst>
            <pc:docMk/>
            <pc:sldMk cId="245881457" sldId="2147375597"/>
            <ac:graphicFrameMk id="7" creationId="{3583FF9E-539E-FE29-E73B-3EF7E093601C}"/>
          </ac:graphicFrameMkLst>
        </pc:graphicFrameChg>
        <pc:picChg chg="add mod ord">
          <ac:chgData name="Bhushan Madapura [UNext]" userId="2baadad7-7b8e-4632-a62a-dff9a334b569" providerId="ADAL" clId="{F6E155E8-D84C-463E-A3B7-5CF65E1FB393}" dt="2024-08-26T14:59:21.608" v="229" actId="207"/>
          <ac:picMkLst>
            <pc:docMk/>
            <pc:sldMk cId="245881457" sldId="2147375597"/>
            <ac:picMk id="9" creationId="{8701F636-0E69-F494-2D36-9D9665F8A8DA}"/>
          </ac:picMkLst>
        </pc:picChg>
      </pc:sldChg>
      <pc:sldChg chg="addSp delSp modSp add del mod">
        <pc:chgData name="Bhushan Madapura [UNext]" userId="2baadad7-7b8e-4632-a62a-dff9a334b569" providerId="ADAL" clId="{F6E155E8-D84C-463E-A3B7-5CF65E1FB393}" dt="2024-08-26T15:00:38.337" v="315" actId="47"/>
        <pc:sldMkLst>
          <pc:docMk/>
          <pc:sldMk cId="2841683286" sldId="2147375598"/>
        </pc:sldMkLst>
        <pc:spChg chg="add del mod modVis">
          <ac:chgData name="Bhushan Madapura [UNext]" userId="2baadad7-7b8e-4632-a62a-dff9a334b569" providerId="ADAL" clId="{F6E155E8-D84C-463E-A3B7-5CF65E1FB393}" dt="2024-08-26T14:59:48.700" v="281"/>
          <ac:spMkLst>
            <pc:docMk/>
            <pc:sldMk cId="2841683286" sldId="2147375598"/>
            <ac:spMk id="2" creationId="{5351B170-2FDB-76F6-EC13-2B5E290212D0}"/>
          </ac:spMkLst>
        </pc:spChg>
        <pc:spChg chg="mod">
          <ac:chgData name="Bhushan Madapura [UNext]" userId="2baadad7-7b8e-4632-a62a-dff9a334b569" providerId="ADAL" clId="{F6E155E8-D84C-463E-A3B7-5CF65E1FB393}" dt="2024-08-26T14:59:48.669" v="259" actId="948"/>
          <ac:spMkLst>
            <pc:docMk/>
            <pc:sldMk cId="2841683286" sldId="2147375598"/>
            <ac:spMk id="3" creationId="{CEA128C4-A0BC-A895-713C-306E7FF62894}"/>
          </ac:spMkLst>
        </pc:spChg>
        <pc:graphicFrameChg chg="mod">
          <ac:chgData name="Bhushan Madapura [UNext]" userId="2baadad7-7b8e-4632-a62a-dff9a334b569" providerId="ADAL" clId="{F6E155E8-D84C-463E-A3B7-5CF65E1FB393}" dt="2024-08-26T14:59:48.700" v="283"/>
          <ac:graphicFrameMkLst>
            <pc:docMk/>
            <pc:sldMk cId="2841683286" sldId="2147375598"/>
            <ac:graphicFrameMk id="7" creationId="{3583FF9E-539E-FE29-E73B-3EF7E093601C}"/>
          </ac:graphicFrameMkLst>
        </pc:graphicFrameChg>
      </pc:sldChg>
      <pc:sldChg chg="addSp delSp modSp add del mod">
        <pc:chgData name="Bhushan Madapura [UNext]" userId="2baadad7-7b8e-4632-a62a-dff9a334b569" providerId="ADAL" clId="{F6E155E8-D84C-463E-A3B7-5CF65E1FB393}" dt="2024-08-26T15:00:38.715" v="316" actId="47"/>
        <pc:sldMkLst>
          <pc:docMk/>
          <pc:sldMk cId="2655284758" sldId="2147375599"/>
        </pc:sldMkLst>
        <pc:spChg chg="add del mod modVis">
          <ac:chgData name="Bhushan Madapura [UNext]" userId="2baadad7-7b8e-4632-a62a-dff9a334b569" providerId="ADAL" clId="{F6E155E8-D84C-463E-A3B7-5CF65E1FB393}" dt="2024-08-26T14:59:39.533" v="255"/>
          <ac:spMkLst>
            <pc:docMk/>
            <pc:sldMk cId="2655284758" sldId="2147375599"/>
            <ac:spMk id="2" creationId="{B9FC5A99-B3B3-B65E-6875-1F4E2471F1DC}"/>
          </ac:spMkLst>
        </pc:spChg>
        <pc:spChg chg="mod">
          <ac:chgData name="Bhushan Madapura [UNext]" userId="2baadad7-7b8e-4632-a62a-dff9a334b569" providerId="ADAL" clId="{F6E155E8-D84C-463E-A3B7-5CF65E1FB393}" dt="2024-08-26T14:59:53.411" v="285" actId="948"/>
          <ac:spMkLst>
            <pc:docMk/>
            <pc:sldMk cId="2655284758" sldId="2147375599"/>
            <ac:spMk id="3" creationId="{CEA128C4-A0BC-A895-713C-306E7FF62894}"/>
          </ac:spMkLst>
        </pc:spChg>
        <pc:spChg chg="add del mod modVis">
          <ac:chgData name="Bhushan Madapura [UNext]" userId="2baadad7-7b8e-4632-a62a-dff9a334b569" providerId="ADAL" clId="{F6E155E8-D84C-463E-A3B7-5CF65E1FB393}" dt="2024-08-26T14:59:53.454" v="307"/>
          <ac:spMkLst>
            <pc:docMk/>
            <pc:sldMk cId="2655284758" sldId="2147375599"/>
            <ac:spMk id="5" creationId="{70012F85-044A-B78F-237F-09F00322BA51}"/>
          </ac:spMkLst>
        </pc:spChg>
        <pc:graphicFrameChg chg="mod">
          <ac:chgData name="Bhushan Madapura [UNext]" userId="2baadad7-7b8e-4632-a62a-dff9a334b569" providerId="ADAL" clId="{F6E155E8-D84C-463E-A3B7-5CF65E1FB393}" dt="2024-08-26T14:59:53.458" v="309"/>
          <ac:graphicFrameMkLst>
            <pc:docMk/>
            <pc:sldMk cId="2655284758" sldId="2147375599"/>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04:44.854" v="754" actId="242"/>
        <pc:sldMkLst>
          <pc:docMk/>
          <pc:sldMk cId="1181112711" sldId="2147375600"/>
        </pc:sldMkLst>
        <pc:spChg chg="add del mod modVis">
          <ac:chgData name="Bhushan Madapura [UNext]" userId="2baadad7-7b8e-4632-a62a-dff9a334b569" providerId="ADAL" clId="{F6E155E8-D84C-463E-A3B7-5CF65E1FB393}" dt="2024-08-26T15:00:44.766" v="340"/>
          <ac:spMkLst>
            <pc:docMk/>
            <pc:sldMk cId="1181112711" sldId="2147375600"/>
            <ac:spMk id="2" creationId="{E80CD124-F595-E52F-1432-FF914FFD2B28}"/>
          </ac:spMkLst>
        </pc:spChg>
        <pc:spChg chg="mod">
          <ac:chgData name="Bhushan Madapura [UNext]" userId="2baadad7-7b8e-4632-a62a-dff9a334b569" providerId="ADAL" clId="{F6E155E8-D84C-463E-A3B7-5CF65E1FB393}" dt="2024-08-26T15:02:57.010" v="638" actId="948"/>
          <ac:spMkLst>
            <pc:docMk/>
            <pc:sldMk cId="1181112711" sldId="2147375600"/>
            <ac:spMk id="3" creationId="{CEA128C4-A0BC-A895-713C-306E7FF62894}"/>
          </ac:spMkLst>
        </pc:spChg>
        <pc:spChg chg="add del mod modVis">
          <ac:chgData name="Bhushan Madapura [UNext]" userId="2baadad7-7b8e-4632-a62a-dff9a334b569" providerId="ADAL" clId="{F6E155E8-D84C-463E-A3B7-5CF65E1FB393}" dt="2024-08-26T15:02:51.743" v="631" actId="962"/>
          <ac:spMkLst>
            <pc:docMk/>
            <pc:sldMk cId="1181112711" sldId="2147375600"/>
            <ac:spMk id="5" creationId="{704C1F05-802D-23A5-C441-9788425E4ABD}"/>
          </ac:spMkLst>
        </pc:spChg>
        <pc:spChg chg="add del mod modVis">
          <ac:chgData name="Bhushan Madapura [UNext]" userId="2baadad7-7b8e-4632-a62a-dff9a334b569" providerId="ADAL" clId="{F6E155E8-D84C-463E-A3B7-5CF65E1FB393}" dt="2024-08-26T15:02:57.034" v="660"/>
          <ac:spMkLst>
            <pc:docMk/>
            <pc:sldMk cId="1181112711" sldId="2147375600"/>
            <ac:spMk id="6" creationId="{E406E18F-9F32-8E50-0C82-8EF357241043}"/>
          </ac:spMkLst>
        </pc:spChg>
        <pc:spChg chg="mod">
          <ac:chgData name="Bhushan Madapura [UNext]" userId="2baadad7-7b8e-4632-a62a-dff9a334b569" providerId="ADAL" clId="{F6E155E8-D84C-463E-A3B7-5CF65E1FB393}" dt="2024-08-26T15:04:44.854" v="754" actId="242"/>
          <ac:spMkLst>
            <pc:docMk/>
            <pc:sldMk cId="1181112711" sldId="2147375600"/>
            <ac:spMk id="12" creationId="{E53E5C3F-4D2B-B85F-E592-E58E032C664C}"/>
          </ac:spMkLst>
        </pc:spChg>
        <pc:graphicFrameChg chg="mod">
          <ac:chgData name="Bhushan Madapura [UNext]" userId="2baadad7-7b8e-4632-a62a-dff9a334b569" providerId="ADAL" clId="{F6E155E8-D84C-463E-A3B7-5CF65E1FB393}" dt="2024-08-26T15:02:57.050" v="662"/>
          <ac:graphicFrameMkLst>
            <pc:docMk/>
            <pc:sldMk cId="1181112711" sldId="2147375600"/>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04:39.188" v="753" actId="242"/>
        <pc:sldMkLst>
          <pc:docMk/>
          <pc:sldMk cId="3233747587" sldId="2147375601"/>
        </pc:sldMkLst>
        <pc:spChg chg="add del mod modVis">
          <ac:chgData name="Bhushan Madapura [UNext]" userId="2baadad7-7b8e-4632-a62a-dff9a334b569" providerId="ADAL" clId="{F6E155E8-D84C-463E-A3B7-5CF65E1FB393}" dt="2024-08-26T15:00:48.238" v="366"/>
          <ac:spMkLst>
            <pc:docMk/>
            <pc:sldMk cId="3233747587" sldId="2147375601"/>
            <ac:spMk id="2" creationId="{768902A0-D94C-0512-127F-6139A6EBBC9B}"/>
          </ac:spMkLst>
        </pc:spChg>
        <pc:spChg chg="mod">
          <ac:chgData name="Bhushan Madapura [UNext]" userId="2baadad7-7b8e-4632-a62a-dff9a334b569" providerId="ADAL" clId="{F6E155E8-D84C-463E-A3B7-5CF65E1FB393}" dt="2024-08-26T15:03:03.708" v="664" actId="948"/>
          <ac:spMkLst>
            <pc:docMk/>
            <pc:sldMk cId="3233747587" sldId="2147375601"/>
            <ac:spMk id="3" creationId="{CEA128C4-A0BC-A895-713C-306E7FF62894}"/>
          </ac:spMkLst>
        </pc:spChg>
        <pc:spChg chg="add del mod modVis">
          <ac:chgData name="Bhushan Madapura [UNext]" userId="2baadad7-7b8e-4632-a62a-dff9a334b569" providerId="ADAL" clId="{F6E155E8-D84C-463E-A3B7-5CF65E1FB393}" dt="2024-08-26T15:03:03.748" v="686"/>
          <ac:spMkLst>
            <pc:docMk/>
            <pc:sldMk cId="3233747587" sldId="2147375601"/>
            <ac:spMk id="5" creationId="{A871ED72-39DA-7EDE-C584-E7C6C1FB50D2}"/>
          </ac:spMkLst>
        </pc:spChg>
        <pc:spChg chg="mod">
          <ac:chgData name="Bhushan Madapura [UNext]" userId="2baadad7-7b8e-4632-a62a-dff9a334b569" providerId="ADAL" clId="{F6E155E8-D84C-463E-A3B7-5CF65E1FB393}" dt="2024-08-26T15:04:39.188" v="753" actId="242"/>
          <ac:spMkLst>
            <pc:docMk/>
            <pc:sldMk cId="3233747587" sldId="2147375601"/>
            <ac:spMk id="12" creationId="{E53E5C3F-4D2B-B85F-E592-E58E032C664C}"/>
          </ac:spMkLst>
        </pc:spChg>
        <pc:graphicFrameChg chg="mod">
          <ac:chgData name="Bhushan Madapura [UNext]" userId="2baadad7-7b8e-4632-a62a-dff9a334b569" providerId="ADAL" clId="{F6E155E8-D84C-463E-A3B7-5CF65E1FB393}" dt="2024-08-26T15:03:03.748" v="688"/>
          <ac:graphicFrameMkLst>
            <pc:docMk/>
            <pc:sldMk cId="3233747587" sldId="2147375601"/>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01:46.909" v="387" actId="207"/>
        <pc:sldMkLst>
          <pc:docMk/>
          <pc:sldMk cId="832949157" sldId="2147375602"/>
        </pc:sldMkLst>
        <pc:spChg chg="mod">
          <ac:chgData name="Bhushan Madapura [UNext]" userId="2baadad7-7b8e-4632-a62a-dff9a334b569" providerId="ADAL" clId="{F6E155E8-D84C-463E-A3B7-5CF65E1FB393}" dt="2024-08-26T15:01:31.979" v="384" actId="20577"/>
          <ac:spMkLst>
            <pc:docMk/>
            <pc:sldMk cId="832949157" sldId="2147375602"/>
            <ac:spMk id="3" creationId="{C02D07F7-B946-BB66-E6EA-DD92C38B1926}"/>
          </ac:spMkLst>
        </pc:spChg>
        <pc:picChg chg="del">
          <ac:chgData name="Bhushan Madapura [UNext]" userId="2baadad7-7b8e-4632-a62a-dff9a334b569" providerId="ADAL" clId="{F6E155E8-D84C-463E-A3B7-5CF65E1FB393}" dt="2024-08-26T15:01:36.713" v="385" actId="478"/>
          <ac:picMkLst>
            <pc:docMk/>
            <pc:sldMk cId="832949157" sldId="2147375602"/>
            <ac:picMk id="2" creationId="{5ED103A7-D95B-E42C-6356-53269A110E83}"/>
          </ac:picMkLst>
        </pc:picChg>
        <pc:picChg chg="add mod">
          <ac:chgData name="Bhushan Madapura [UNext]" userId="2baadad7-7b8e-4632-a62a-dff9a334b569" providerId="ADAL" clId="{F6E155E8-D84C-463E-A3B7-5CF65E1FB393}" dt="2024-08-26T15:01:46.909" v="387" actId="207"/>
          <ac:picMkLst>
            <pc:docMk/>
            <pc:sldMk cId="832949157" sldId="2147375602"/>
            <ac:picMk id="4" creationId="{7164DAAD-2874-8D6F-8FCF-5053DEE24E33}"/>
          </ac:picMkLst>
        </pc:picChg>
      </pc:sldChg>
      <pc:sldChg chg="addSp delSp modSp add mod">
        <pc:chgData name="Bhushan Madapura [UNext]" userId="2baadad7-7b8e-4632-a62a-dff9a334b569" providerId="ADAL" clId="{F6E155E8-D84C-463E-A3B7-5CF65E1FB393}" dt="2024-08-26T15:20:34.423" v="1680" actId="21"/>
        <pc:sldMkLst>
          <pc:docMk/>
          <pc:sldMk cId="3971512377" sldId="2147375603"/>
        </pc:sldMkLst>
        <pc:spChg chg="add del mod modVis">
          <ac:chgData name="Bhushan Madapura [UNext]" userId="2baadad7-7b8e-4632-a62a-dff9a334b569" providerId="ADAL" clId="{F6E155E8-D84C-463E-A3B7-5CF65E1FB393}" dt="2024-08-26T15:02:21.218" v="412"/>
          <ac:spMkLst>
            <pc:docMk/>
            <pc:sldMk cId="3971512377" sldId="2147375603"/>
            <ac:spMk id="2" creationId="{7B78F954-A2B4-2235-870A-4AA977895067}"/>
          </ac:spMkLst>
        </pc:spChg>
        <pc:spChg chg="mod">
          <ac:chgData name="Bhushan Madapura [UNext]" userId="2baadad7-7b8e-4632-a62a-dff9a334b569" providerId="ADAL" clId="{F6E155E8-D84C-463E-A3B7-5CF65E1FB393}" dt="2024-08-26T15:02:21.163" v="390" actId="948"/>
          <ac:spMkLst>
            <pc:docMk/>
            <pc:sldMk cId="3971512377" sldId="2147375603"/>
            <ac:spMk id="3" creationId="{CEA128C4-A0BC-A895-713C-306E7FF62894}"/>
          </ac:spMkLst>
        </pc:spChg>
        <pc:spChg chg="mod">
          <ac:chgData name="Bhushan Madapura [UNext]" userId="2baadad7-7b8e-4632-a62a-dff9a334b569" providerId="ADAL" clId="{F6E155E8-D84C-463E-A3B7-5CF65E1FB393}" dt="2024-08-26T15:20:34.423" v="1680" actId="21"/>
          <ac:spMkLst>
            <pc:docMk/>
            <pc:sldMk cId="3971512377" sldId="2147375603"/>
            <ac:spMk id="11" creationId="{DE9F1BE0-7910-FA1B-DCE8-56EFD1E4FC09}"/>
          </ac:spMkLst>
        </pc:spChg>
        <pc:spChg chg="mod">
          <ac:chgData name="Bhushan Madapura [UNext]" userId="2baadad7-7b8e-4632-a62a-dff9a334b569" providerId="ADAL" clId="{F6E155E8-D84C-463E-A3B7-5CF65E1FB393}" dt="2024-08-26T15:06:31.831" v="757" actId="122"/>
          <ac:spMkLst>
            <pc:docMk/>
            <pc:sldMk cId="3971512377" sldId="2147375603"/>
            <ac:spMk id="12" creationId="{E53E5C3F-4D2B-B85F-E592-E58E032C664C}"/>
          </ac:spMkLst>
        </pc:spChg>
        <pc:graphicFrameChg chg="mod">
          <ac:chgData name="Bhushan Madapura [UNext]" userId="2baadad7-7b8e-4632-a62a-dff9a334b569" providerId="ADAL" clId="{F6E155E8-D84C-463E-A3B7-5CF65E1FB393}" dt="2024-08-26T15:02:21.218" v="414"/>
          <ac:graphicFrameMkLst>
            <pc:docMk/>
            <pc:sldMk cId="3971512377" sldId="2147375603"/>
            <ac:graphicFrameMk id="7" creationId="{3583FF9E-539E-FE29-E73B-3EF7E093601C}"/>
          </ac:graphicFrameMkLst>
        </pc:graphicFrameChg>
        <pc:picChg chg="add mod">
          <ac:chgData name="Bhushan Madapura [UNext]" userId="2baadad7-7b8e-4632-a62a-dff9a334b569" providerId="ADAL" clId="{F6E155E8-D84C-463E-A3B7-5CF65E1FB393}" dt="2024-08-26T15:03:34.413" v="694" actId="1035"/>
          <ac:picMkLst>
            <pc:docMk/>
            <pc:sldMk cId="3971512377" sldId="2147375603"/>
            <ac:picMk id="5" creationId="{0916C17C-12F9-BFD4-9A8B-40B3CFCA8C07}"/>
          </ac:picMkLst>
        </pc:picChg>
        <pc:picChg chg="del">
          <ac:chgData name="Bhushan Madapura [UNext]" userId="2baadad7-7b8e-4632-a62a-dff9a334b569" providerId="ADAL" clId="{F6E155E8-D84C-463E-A3B7-5CF65E1FB393}" dt="2024-08-26T15:03:18.900" v="689" actId="478"/>
          <ac:picMkLst>
            <pc:docMk/>
            <pc:sldMk cId="3971512377" sldId="2147375603"/>
            <ac:picMk id="9" creationId="{8701F636-0E69-F494-2D36-9D9665F8A8DA}"/>
          </ac:picMkLst>
        </pc:picChg>
      </pc:sldChg>
      <pc:sldChg chg="addSp delSp modSp add mod">
        <pc:chgData name="Bhushan Madapura [UNext]" userId="2baadad7-7b8e-4632-a62a-dff9a334b569" providerId="ADAL" clId="{F6E155E8-D84C-463E-A3B7-5CF65E1FB393}" dt="2024-08-26T15:20:25.350" v="1671" actId="20577"/>
        <pc:sldMkLst>
          <pc:docMk/>
          <pc:sldMk cId="3179805674" sldId="2147375604"/>
        </pc:sldMkLst>
        <pc:spChg chg="add del mod modVis">
          <ac:chgData name="Bhushan Madapura [UNext]" userId="2baadad7-7b8e-4632-a62a-dff9a334b569" providerId="ADAL" clId="{F6E155E8-D84C-463E-A3B7-5CF65E1FB393}" dt="2024-08-26T15:03:46.493" v="720"/>
          <ac:spMkLst>
            <pc:docMk/>
            <pc:sldMk cId="3179805674" sldId="2147375604"/>
            <ac:spMk id="2" creationId="{E4D72A80-75DB-E87A-1BBE-55E60409264F}"/>
          </ac:spMkLst>
        </pc:spChg>
        <pc:spChg chg="mod">
          <ac:chgData name="Bhushan Madapura [UNext]" userId="2baadad7-7b8e-4632-a62a-dff9a334b569" providerId="ADAL" clId="{F6E155E8-D84C-463E-A3B7-5CF65E1FB393}" dt="2024-08-26T15:03:46.448" v="698" actId="948"/>
          <ac:spMkLst>
            <pc:docMk/>
            <pc:sldMk cId="3179805674" sldId="2147375604"/>
            <ac:spMk id="3" creationId="{CEA128C4-A0BC-A895-713C-306E7FF62894}"/>
          </ac:spMkLst>
        </pc:spChg>
        <pc:spChg chg="mod">
          <ac:chgData name="Bhushan Madapura [UNext]" userId="2baadad7-7b8e-4632-a62a-dff9a334b569" providerId="ADAL" clId="{F6E155E8-D84C-463E-A3B7-5CF65E1FB393}" dt="2024-08-26T15:20:25.350" v="1671" actId="20577"/>
          <ac:spMkLst>
            <pc:docMk/>
            <pc:sldMk cId="3179805674" sldId="2147375604"/>
            <ac:spMk id="11" creationId="{DE9F1BE0-7910-FA1B-DCE8-56EFD1E4FC09}"/>
          </ac:spMkLst>
        </pc:spChg>
        <pc:spChg chg="mod">
          <ac:chgData name="Bhushan Madapura [UNext]" userId="2baadad7-7b8e-4632-a62a-dff9a334b569" providerId="ADAL" clId="{F6E155E8-D84C-463E-A3B7-5CF65E1FB393}" dt="2024-08-26T15:06:42.020" v="759" actId="242"/>
          <ac:spMkLst>
            <pc:docMk/>
            <pc:sldMk cId="3179805674" sldId="2147375604"/>
            <ac:spMk id="12" creationId="{E53E5C3F-4D2B-B85F-E592-E58E032C664C}"/>
          </ac:spMkLst>
        </pc:spChg>
        <pc:graphicFrameChg chg="mod">
          <ac:chgData name="Bhushan Madapura [UNext]" userId="2baadad7-7b8e-4632-a62a-dff9a334b569" providerId="ADAL" clId="{F6E155E8-D84C-463E-A3B7-5CF65E1FB393}" dt="2024-08-26T15:03:46.509" v="722"/>
          <ac:graphicFrameMkLst>
            <pc:docMk/>
            <pc:sldMk cId="3179805674" sldId="2147375604"/>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20:24.074" v="1667" actId="20577"/>
        <pc:sldMkLst>
          <pc:docMk/>
          <pc:sldMk cId="86366928" sldId="2147375605"/>
        </pc:sldMkLst>
        <pc:spChg chg="add del mod modVis">
          <ac:chgData name="Bhushan Madapura [UNext]" userId="2baadad7-7b8e-4632-a62a-dff9a334b569" providerId="ADAL" clId="{F6E155E8-D84C-463E-A3B7-5CF65E1FB393}" dt="2024-08-26T15:03:50.125" v="746"/>
          <ac:spMkLst>
            <pc:docMk/>
            <pc:sldMk cId="86366928" sldId="2147375605"/>
            <ac:spMk id="2" creationId="{3C9B2D13-64E0-82E6-FA58-0AC952830673}"/>
          </ac:spMkLst>
        </pc:spChg>
        <pc:spChg chg="mod">
          <ac:chgData name="Bhushan Madapura [UNext]" userId="2baadad7-7b8e-4632-a62a-dff9a334b569" providerId="ADAL" clId="{F6E155E8-D84C-463E-A3B7-5CF65E1FB393}" dt="2024-08-26T15:03:50.066" v="724" actId="948"/>
          <ac:spMkLst>
            <pc:docMk/>
            <pc:sldMk cId="86366928" sldId="2147375605"/>
            <ac:spMk id="3" creationId="{CEA128C4-A0BC-A895-713C-306E7FF62894}"/>
          </ac:spMkLst>
        </pc:spChg>
        <pc:spChg chg="add del">
          <ac:chgData name="Bhushan Madapura [UNext]" userId="2baadad7-7b8e-4632-a62a-dff9a334b569" providerId="ADAL" clId="{F6E155E8-D84C-463E-A3B7-5CF65E1FB393}" dt="2024-08-26T15:07:40.970" v="765" actId="22"/>
          <ac:spMkLst>
            <pc:docMk/>
            <pc:sldMk cId="86366928" sldId="2147375605"/>
            <ac:spMk id="8" creationId="{65F62A7D-C78C-CB76-6341-8F0A31B923F9}"/>
          </ac:spMkLst>
        </pc:spChg>
        <pc:spChg chg="mod">
          <ac:chgData name="Bhushan Madapura [UNext]" userId="2baadad7-7b8e-4632-a62a-dff9a334b569" providerId="ADAL" clId="{F6E155E8-D84C-463E-A3B7-5CF65E1FB393}" dt="2024-08-26T15:20:24.074" v="1667" actId="20577"/>
          <ac:spMkLst>
            <pc:docMk/>
            <pc:sldMk cId="86366928" sldId="2147375605"/>
            <ac:spMk id="11" creationId="{DE9F1BE0-7910-FA1B-DCE8-56EFD1E4FC09}"/>
          </ac:spMkLst>
        </pc:spChg>
        <pc:spChg chg="mod">
          <ac:chgData name="Bhushan Madapura [UNext]" userId="2baadad7-7b8e-4632-a62a-dff9a334b569" providerId="ADAL" clId="{F6E155E8-D84C-463E-A3B7-5CF65E1FB393}" dt="2024-08-26T15:06:53.496" v="761" actId="242"/>
          <ac:spMkLst>
            <pc:docMk/>
            <pc:sldMk cId="86366928" sldId="2147375605"/>
            <ac:spMk id="12" creationId="{E53E5C3F-4D2B-B85F-E592-E58E032C664C}"/>
          </ac:spMkLst>
        </pc:spChg>
        <pc:graphicFrameChg chg="mod">
          <ac:chgData name="Bhushan Madapura [UNext]" userId="2baadad7-7b8e-4632-a62a-dff9a334b569" providerId="ADAL" clId="{F6E155E8-D84C-463E-A3B7-5CF65E1FB393}" dt="2024-08-26T15:03:50.140" v="748"/>
          <ac:graphicFrameMkLst>
            <pc:docMk/>
            <pc:sldMk cId="86366928" sldId="2147375605"/>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08:22.982" v="799" actId="207"/>
        <pc:sldMkLst>
          <pc:docMk/>
          <pc:sldMk cId="2653617092" sldId="2147375606"/>
        </pc:sldMkLst>
        <pc:spChg chg="mod">
          <ac:chgData name="Bhushan Madapura [UNext]" userId="2baadad7-7b8e-4632-a62a-dff9a334b569" providerId="ADAL" clId="{F6E155E8-D84C-463E-A3B7-5CF65E1FB393}" dt="2024-08-26T15:08:09.283" v="796"/>
          <ac:spMkLst>
            <pc:docMk/>
            <pc:sldMk cId="2653617092" sldId="2147375606"/>
            <ac:spMk id="3" creationId="{C02D07F7-B946-BB66-E6EA-DD92C38B1926}"/>
          </ac:spMkLst>
        </pc:spChg>
        <pc:picChg chg="add mod">
          <ac:chgData name="Bhushan Madapura [UNext]" userId="2baadad7-7b8e-4632-a62a-dff9a334b569" providerId="ADAL" clId="{F6E155E8-D84C-463E-A3B7-5CF65E1FB393}" dt="2024-08-26T15:08:22.982" v="799" actId="207"/>
          <ac:picMkLst>
            <pc:docMk/>
            <pc:sldMk cId="2653617092" sldId="2147375606"/>
            <ac:picMk id="2" creationId="{F2FEB897-CC3D-F8EF-554F-5F219373693B}"/>
          </ac:picMkLst>
        </pc:picChg>
        <pc:picChg chg="del">
          <ac:chgData name="Bhushan Madapura [UNext]" userId="2baadad7-7b8e-4632-a62a-dff9a334b569" providerId="ADAL" clId="{F6E155E8-D84C-463E-A3B7-5CF65E1FB393}" dt="2024-08-26T15:08:15.070" v="797" actId="478"/>
          <ac:picMkLst>
            <pc:docMk/>
            <pc:sldMk cId="2653617092" sldId="2147375606"/>
            <ac:picMk id="4" creationId="{7164DAAD-2874-8D6F-8FCF-5053DEE24E33}"/>
          </ac:picMkLst>
        </pc:picChg>
      </pc:sldChg>
      <pc:sldChg chg="addSp delSp modSp add mod">
        <pc:chgData name="Bhushan Madapura [UNext]" userId="2baadad7-7b8e-4632-a62a-dff9a334b569" providerId="ADAL" clId="{F6E155E8-D84C-463E-A3B7-5CF65E1FB393}" dt="2024-08-26T15:20:44.036" v="1685" actId="20577"/>
        <pc:sldMkLst>
          <pc:docMk/>
          <pc:sldMk cId="2340944189" sldId="2147375607"/>
        </pc:sldMkLst>
        <pc:spChg chg="mod">
          <ac:chgData name="Bhushan Madapura [UNext]" userId="2baadad7-7b8e-4632-a62a-dff9a334b569" providerId="ADAL" clId="{F6E155E8-D84C-463E-A3B7-5CF65E1FB393}" dt="2024-08-26T15:09:01.667" v="891" actId="948"/>
          <ac:spMkLst>
            <pc:docMk/>
            <pc:sldMk cId="2340944189" sldId="2147375607"/>
            <ac:spMk id="3" creationId="{CEA128C4-A0BC-A895-713C-306E7FF62894}"/>
          </ac:spMkLst>
        </pc:spChg>
        <pc:spChg chg="add del mod modVis">
          <ac:chgData name="Bhushan Madapura [UNext]" userId="2baadad7-7b8e-4632-a62a-dff9a334b569" providerId="ADAL" clId="{F6E155E8-D84C-463E-A3B7-5CF65E1FB393}" dt="2024-08-26T15:08:56.320" v="826"/>
          <ac:spMkLst>
            <pc:docMk/>
            <pc:sldMk cId="2340944189" sldId="2147375607"/>
            <ac:spMk id="6" creationId="{8E365745-15F5-364A-D81A-2FC38F051F48}"/>
          </ac:spMkLst>
        </pc:spChg>
        <pc:spChg chg="add del mod modVis">
          <ac:chgData name="Bhushan Madapura [UNext]" userId="2baadad7-7b8e-4632-a62a-dff9a334b569" providerId="ADAL" clId="{F6E155E8-D84C-463E-A3B7-5CF65E1FB393}" dt="2024-08-26T15:08:59.300" v="856"/>
          <ac:spMkLst>
            <pc:docMk/>
            <pc:sldMk cId="2340944189" sldId="2147375607"/>
            <ac:spMk id="8" creationId="{24951F50-5AA8-0F7A-289B-2B52AFE303D0}"/>
          </ac:spMkLst>
        </pc:spChg>
        <pc:spChg chg="add del mod modVis">
          <ac:chgData name="Bhushan Madapura [UNext]" userId="2baadad7-7b8e-4632-a62a-dff9a334b569" providerId="ADAL" clId="{F6E155E8-D84C-463E-A3B7-5CF65E1FB393}" dt="2024-08-26T15:08:59.914" v="882"/>
          <ac:spMkLst>
            <pc:docMk/>
            <pc:sldMk cId="2340944189" sldId="2147375607"/>
            <ac:spMk id="9" creationId="{6BAA1675-EB45-17B2-6E06-4B178B9CB97E}"/>
          </ac:spMkLst>
        </pc:spChg>
        <pc:spChg chg="mod">
          <ac:chgData name="Bhushan Madapura [UNext]" userId="2baadad7-7b8e-4632-a62a-dff9a334b569" providerId="ADAL" clId="{F6E155E8-D84C-463E-A3B7-5CF65E1FB393}" dt="2024-08-26T15:20:44.036" v="1685" actId="20577"/>
          <ac:spMkLst>
            <pc:docMk/>
            <pc:sldMk cId="2340944189" sldId="2147375607"/>
            <ac:spMk id="11" creationId="{DE9F1BE0-7910-FA1B-DCE8-56EFD1E4FC09}"/>
          </ac:spMkLst>
        </pc:spChg>
        <pc:spChg chg="mod">
          <ac:chgData name="Bhushan Madapura [UNext]" userId="2baadad7-7b8e-4632-a62a-dff9a334b569" providerId="ADAL" clId="{F6E155E8-D84C-463E-A3B7-5CF65E1FB393}" dt="2024-08-26T15:09:51.588" v="955" actId="122"/>
          <ac:spMkLst>
            <pc:docMk/>
            <pc:sldMk cId="2340944189" sldId="2147375607"/>
            <ac:spMk id="12" creationId="{E53E5C3F-4D2B-B85F-E592-E58E032C664C}"/>
          </ac:spMkLst>
        </pc:spChg>
        <pc:spChg chg="add del mod modVis">
          <ac:chgData name="Bhushan Madapura [UNext]" userId="2baadad7-7b8e-4632-a62a-dff9a334b569" providerId="ADAL" clId="{F6E155E8-D84C-463E-A3B7-5CF65E1FB393}" dt="2024-08-26T15:09:01.714" v="913"/>
          <ac:spMkLst>
            <pc:docMk/>
            <pc:sldMk cId="2340944189" sldId="2147375607"/>
            <ac:spMk id="13" creationId="{5A99A12D-3656-2CE5-075F-8AB6512D8DC6}"/>
          </ac:spMkLst>
        </pc:spChg>
        <pc:graphicFrameChg chg="mod">
          <ac:chgData name="Bhushan Madapura [UNext]" userId="2baadad7-7b8e-4632-a62a-dff9a334b569" providerId="ADAL" clId="{F6E155E8-D84C-463E-A3B7-5CF65E1FB393}" dt="2024-08-26T15:09:01.714" v="915"/>
          <ac:graphicFrameMkLst>
            <pc:docMk/>
            <pc:sldMk cId="2340944189" sldId="2147375607"/>
            <ac:graphicFrameMk id="7" creationId="{3583FF9E-539E-FE29-E73B-3EF7E093601C}"/>
          </ac:graphicFrameMkLst>
        </pc:graphicFrameChg>
        <pc:picChg chg="add mod">
          <ac:chgData name="Bhushan Madapura [UNext]" userId="2baadad7-7b8e-4632-a62a-dff9a334b569" providerId="ADAL" clId="{F6E155E8-D84C-463E-A3B7-5CF65E1FB393}" dt="2024-08-26T15:08:39.880" v="802" actId="1076"/>
          <ac:picMkLst>
            <pc:docMk/>
            <pc:sldMk cId="2340944189" sldId="2147375607"/>
            <ac:picMk id="2" creationId="{D0FBC2C9-FE71-44D5-391E-1BAA2958F5EE}"/>
          </ac:picMkLst>
        </pc:picChg>
        <pc:picChg chg="del">
          <ac:chgData name="Bhushan Madapura [UNext]" userId="2baadad7-7b8e-4632-a62a-dff9a334b569" providerId="ADAL" clId="{F6E155E8-D84C-463E-A3B7-5CF65E1FB393}" dt="2024-08-26T15:08:34.820" v="801" actId="478"/>
          <ac:picMkLst>
            <pc:docMk/>
            <pc:sldMk cId="2340944189" sldId="2147375607"/>
            <ac:picMk id="5" creationId="{0916C17C-12F9-BFD4-9A8B-40B3CFCA8C07}"/>
          </ac:picMkLst>
        </pc:picChg>
      </pc:sldChg>
      <pc:sldChg chg="addSp delSp modSp add mod">
        <pc:chgData name="Bhushan Madapura [UNext]" userId="2baadad7-7b8e-4632-a62a-dff9a334b569" providerId="ADAL" clId="{F6E155E8-D84C-463E-A3B7-5CF65E1FB393}" dt="2024-08-26T15:20:50.050" v="1689" actId="20577"/>
        <pc:sldMkLst>
          <pc:docMk/>
          <pc:sldMk cId="3159148252" sldId="2147375608"/>
        </pc:sldMkLst>
        <pc:spChg chg="mod">
          <ac:chgData name="Bhushan Madapura [UNext]" userId="2baadad7-7b8e-4632-a62a-dff9a334b569" providerId="ADAL" clId="{F6E155E8-D84C-463E-A3B7-5CF65E1FB393}" dt="2024-08-26T15:10:02.666" v="959" actId="948"/>
          <ac:spMkLst>
            <pc:docMk/>
            <pc:sldMk cId="3159148252" sldId="2147375608"/>
            <ac:spMk id="3" creationId="{CEA128C4-A0BC-A895-713C-306E7FF62894}"/>
          </ac:spMkLst>
        </pc:spChg>
        <pc:spChg chg="add del mod modVis">
          <ac:chgData name="Bhushan Madapura [UNext]" userId="2baadad7-7b8e-4632-a62a-dff9a334b569" providerId="ADAL" clId="{F6E155E8-D84C-463E-A3B7-5CF65E1FB393}" dt="2024-08-26T15:10:02.713" v="981"/>
          <ac:spMkLst>
            <pc:docMk/>
            <pc:sldMk cId="3159148252" sldId="2147375608"/>
            <ac:spMk id="5" creationId="{54D199AF-862A-4F29-C2C4-4C94E5E22352}"/>
          </ac:spMkLst>
        </pc:spChg>
        <pc:spChg chg="mod">
          <ac:chgData name="Bhushan Madapura [UNext]" userId="2baadad7-7b8e-4632-a62a-dff9a334b569" providerId="ADAL" clId="{F6E155E8-D84C-463E-A3B7-5CF65E1FB393}" dt="2024-08-26T15:20:50.050" v="1689" actId="20577"/>
          <ac:spMkLst>
            <pc:docMk/>
            <pc:sldMk cId="3159148252" sldId="2147375608"/>
            <ac:spMk id="11" creationId="{DE9F1BE0-7910-FA1B-DCE8-56EFD1E4FC09}"/>
          </ac:spMkLst>
        </pc:spChg>
        <pc:graphicFrameChg chg="mod">
          <ac:chgData name="Bhushan Madapura [UNext]" userId="2baadad7-7b8e-4632-a62a-dff9a334b569" providerId="ADAL" clId="{F6E155E8-D84C-463E-A3B7-5CF65E1FB393}" dt="2024-08-26T15:10:02.713" v="983"/>
          <ac:graphicFrameMkLst>
            <pc:docMk/>
            <pc:sldMk cId="3159148252" sldId="2147375608"/>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20:53.723" v="1693" actId="20577"/>
        <pc:sldMkLst>
          <pc:docMk/>
          <pc:sldMk cId="3070204084" sldId="2147375609"/>
        </pc:sldMkLst>
        <pc:spChg chg="mod">
          <ac:chgData name="Bhushan Madapura [UNext]" userId="2baadad7-7b8e-4632-a62a-dff9a334b569" providerId="ADAL" clId="{F6E155E8-D84C-463E-A3B7-5CF65E1FB393}" dt="2024-08-26T15:10:07.137" v="985" actId="948"/>
          <ac:spMkLst>
            <pc:docMk/>
            <pc:sldMk cId="3070204084" sldId="2147375609"/>
            <ac:spMk id="3" creationId="{CEA128C4-A0BC-A895-713C-306E7FF62894}"/>
          </ac:spMkLst>
        </pc:spChg>
        <pc:spChg chg="add del mod modVis">
          <ac:chgData name="Bhushan Madapura [UNext]" userId="2baadad7-7b8e-4632-a62a-dff9a334b569" providerId="ADAL" clId="{F6E155E8-D84C-463E-A3B7-5CF65E1FB393}" dt="2024-08-26T15:10:07.177" v="1007"/>
          <ac:spMkLst>
            <pc:docMk/>
            <pc:sldMk cId="3070204084" sldId="2147375609"/>
            <ac:spMk id="5" creationId="{B2DE76A2-21CA-F44E-3677-2894E884A458}"/>
          </ac:spMkLst>
        </pc:spChg>
        <pc:spChg chg="mod">
          <ac:chgData name="Bhushan Madapura [UNext]" userId="2baadad7-7b8e-4632-a62a-dff9a334b569" providerId="ADAL" clId="{F6E155E8-D84C-463E-A3B7-5CF65E1FB393}" dt="2024-08-26T15:20:53.723" v="1693" actId="20577"/>
          <ac:spMkLst>
            <pc:docMk/>
            <pc:sldMk cId="3070204084" sldId="2147375609"/>
            <ac:spMk id="11" creationId="{DE9F1BE0-7910-FA1B-DCE8-56EFD1E4FC09}"/>
          </ac:spMkLst>
        </pc:spChg>
        <pc:graphicFrameChg chg="mod">
          <ac:chgData name="Bhushan Madapura [UNext]" userId="2baadad7-7b8e-4632-a62a-dff9a334b569" providerId="ADAL" clId="{F6E155E8-D84C-463E-A3B7-5CF65E1FB393}" dt="2024-08-26T15:10:07.196" v="1009"/>
          <ac:graphicFrameMkLst>
            <pc:docMk/>
            <pc:sldMk cId="3070204084" sldId="2147375609"/>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10:51.626" v="1026" actId="207"/>
        <pc:sldMkLst>
          <pc:docMk/>
          <pc:sldMk cId="12943417" sldId="2147375610"/>
        </pc:sldMkLst>
        <pc:spChg chg="mod">
          <ac:chgData name="Bhushan Madapura [UNext]" userId="2baadad7-7b8e-4632-a62a-dff9a334b569" providerId="ADAL" clId="{F6E155E8-D84C-463E-A3B7-5CF65E1FB393}" dt="2024-08-26T15:10:39.492" v="1023" actId="20577"/>
          <ac:spMkLst>
            <pc:docMk/>
            <pc:sldMk cId="12943417" sldId="2147375610"/>
            <ac:spMk id="3" creationId="{C02D07F7-B946-BB66-E6EA-DD92C38B1926}"/>
          </ac:spMkLst>
        </pc:spChg>
        <pc:picChg chg="del">
          <ac:chgData name="Bhushan Madapura [UNext]" userId="2baadad7-7b8e-4632-a62a-dff9a334b569" providerId="ADAL" clId="{F6E155E8-D84C-463E-A3B7-5CF65E1FB393}" dt="2024-08-26T15:10:43.027" v="1024" actId="478"/>
          <ac:picMkLst>
            <pc:docMk/>
            <pc:sldMk cId="12943417" sldId="2147375610"/>
            <ac:picMk id="2" creationId="{F2FEB897-CC3D-F8EF-554F-5F219373693B}"/>
          </ac:picMkLst>
        </pc:picChg>
        <pc:picChg chg="add mod">
          <ac:chgData name="Bhushan Madapura [UNext]" userId="2baadad7-7b8e-4632-a62a-dff9a334b569" providerId="ADAL" clId="{F6E155E8-D84C-463E-A3B7-5CF65E1FB393}" dt="2024-08-26T15:10:51.626" v="1026" actId="207"/>
          <ac:picMkLst>
            <pc:docMk/>
            <pc:sldMk cId="12943417" sldId="2147375610"/>
            <ac:picMk id="4" creationId="{B5F8A401-110E-E4BD-2FD5-DBD699116CE7}"/>
          </ac:picMkLst>
        </pc:picChg>
      </pc:sldChg>
      <pc:sldChg chg="addSp delSp modSp add mod">
        <pc:chgData name="Bhushan Madapura [UNext]" userId="2baadad7-7b8e-4632-a62a-dff9a334b569" providerId="ADAL" clId="{F6E155E8-D84C-463E-A3B7-5CF65E1FB393}" dt="2024-08-26T15:14:14.777" v="1380" actId="207"/>
        <pc:sldMkLst>
          <pc:docMk/>
          <pc:sldMk cId="3754613224" sldId="2147375611"/>
        </pc:sldMkLst>
        <pc:spChg chg="mod">
          <ac:chgData name="Bhushan Madapura [UNext]" userId="2baadad7-7b8e-4632-a62a-dff9a334b569" providerId="ADAL" clId="{F6E155E8-D84C-463E-A3B7-5CF65E1FB393}" dt="2024-08-26T15:11:59.253" v="1315" actId="948"/>
          <ac:spMkLst>
            <pc:docMk/>
            <pc:sldMk cId="3754613224" sldId="2147375611"/>
            <ac:spMk id="3" creationId="{CEA128C4-A0BC-A895-713C-306E7FF62894}"/>
          </ac:spMkLst>
        </pc:spChg>
        <pc:spChg chg="add del mod modVis">
          <ac:chgData name="Bhushan Madapura [UNext]" userId="2baadad7-7b8e-4632-a62a-dff9a334b569" providerId="ADAL" clId="{F6E155E8-D84C-463E-A3B7-5CF65E1FB393}" dt="2024-08-26T15:11:41.241" v="1061"/>
          <ac:spMkLst>
            <pc:docMk/>
            <pc:sldMk cId="3754613224" sldId="2147375611"/>
            <ac:spMk id="6" creationId="{37C9C12D-5F89-5A37-A538-47F3C6DEAD0C}"/>
          </ac:spMkLst>
        </pc:spChg>
        <pc:spChg chg="add del mod modVis">
          <ac:chgData name="Bhushan Madapura [UNext]" userId="2baadad7-7b8e-4632-a62a-dff9a334b569" providerId="ADAL" clId="{F6E155E8-D84C-463E-A3B7-5CF65E1FB393}" dt="2024-08-26T15:11:42.457" v="1088"/>
          <ac:spMkLst>
            <pc:docMk/>
            <pc:sldMk cId="3754613224" sldId="2147375611"/>
            <ac:spMk id="8" creationId="{31F7281E-02FE-258A-AC7E-3B325FFEE857}"/>
          </ac:spMkLst>
        </pc:spChg>
        <pc:spChg chg="add del mod modVis">
          <ac:chgData name="Bhushan Madapura [UNext]" userId="2baadad7-7b8e-4632-a62a-dff9a334b569" providerId="ADAL" clId="{F6E155E8-D84C-463E-A3B7-5CF65E1FB393}" dt="2024-08-26T15:11:45.446" v="1118"/>
          <ac:spMkLst>
            <pc:docMk/>
            <pc:sldMk cId="3754613224" sldId="2147375611"/>
            <ac:spMk id="9" creationId="{DF8DE873-89D3-A7B9-D32F-7E42334F008D}"/>
          </ac:spMkLst>
        </pc:spChg>
        <pc:spChg chg="del">
          <ac:chgData name="Bhushan Madapura [UNext]" userId="2baadad7-7b8e-4632-a62a-dff9a334b569" providerId="ADAL" clId="{F6E155E8-D84C-463E-A3B7-5CF65E1FB393}" dt="2024-08-26T15:11:24.078" v="1033" actId="478"/>
          <ac:spMkLst>
            <pc:docMk/>
            <pc:sldMk cId="3754613224" sldId="2147375611"/>
            <ac:spMk id="11" creationId="{DE9F1BE0-7910-FA1B-DCE8-56EFD1E4FC09}"/>
          </ac:spMkLst>
        </pc:spChg>
        <pc:spChg chg="del">
          <ac:chgData name="Bhushan Madapura [UNext]" userId="2baadad7-7b8e-4632-a62a-dff9a334b569" providerId="ADAL" clId="{F6E155E8-D84C-463E-A3B7-5CF65E1FB393}" dt="2024-08-26T15:11:24.078" v="1033" actId="478"/>
          <ac:spMkLst>
            <pc:docMk/>
            <pc:sldMk cId="3754613224" sldId="2147375611"/>
            <ac:spMk id="12" creationId="{E53E5C3F-4D2B-B85F-E592-E58E032C664C}"/>
          </ac:spMkLst>
        </pc:spChg>
        <pc:spChg chg="add del mod modVis">
          <ac:chgData name="Bhushan Madapura [UNext]" userId="2baadad7-7b8e-4632-a62a-dff9a334b569" providerId="ADAL" clId="{F6E155E8-D84C-463E-A3B7-5CF65E1FB393}" dt="2024-08-26T15:11:52.266" v="1226" actId="962"/>
          <ac:spMkLst>
            <pc:docMk/>
            <pc:sldMk cId="3754613224" sldId="2147375611"/>
            <ac:spMk id="13" creationId="{43639060-102A-2B79-326F-01F9E7A963CE}"/>
          </ac:spMkLst>
        </pc:spChg>
        <pc:spChg chg="add del mod modVis">
          <ac:chgData name="Bhushan Madapura [UNext]" userId="2baadad7-7b8e-4632-a62a-dff9a334b569" providerId="ADAL" clId="{F6E155E8-D84C-463E-A3B7-5CF65E1FB393}" dt="2024-08-26T15:11:51.125" v="1204" actId="962"/>
          <ac:spMkLst>
            <pc:docMk/>
            <pc:sldMk cId="3754613224" sldId="2147375611"/>
            <ac:spMk id="14" creationId="{99D52187-2C9F-DB4A-7514-2F8FC3C0FC54}"/>
          </ac:spMkLst>
        </pc:spChg>
        <pc:spChg chg="add del mod modVis">
          <ac:chgData name="Bhushan Madapura [UNext]" userId="2baadad7-7b8e-4632-a62a-dff9a334b569" providerId="ADAL" clId="{F6E155E8-D84C-463E-A3B7-5CF65E1FB393}" dt="2024-08-26T15:11:54.813" v="1262"/>
          <ac:spMkLst>
            <pc:docMk/>
            <pc:sldMk cId="3754613224" sldId="2147375611"/>
            <ac:spMk id="15" creationId="{7B11F048-CD43-F6FC-C32E-BD1E57BB325C}"/>
          </ac:spMkLst>
        </pc:spChg>
        <pc:spChg chg="add del mod modVis">
          <ac:chgData name="Bhushan Madapura [UNext]" userId="2baadad7-7b8e-4632-a62a-dff9a334b569" providerId="ADAL" clId="{F6E155E8-D84C-463E-A3B7-5CF65E1FB393}" dt="2024-08-26T15:11:58.702" v="1311"/>
          <ac:spMkLst>
            <pc:docMk/>
            <pc:sldMk cId="3754613224" sldId="2147375611"/>
            <ac:spMk id="16" creationId="{F86522A6-90E0-07AD-C025-7A90268C7052}"/>
          </ac:spMkLst>
        </pc:spChg>
        <pc:spChg chg="add del mod modVis">
          <ac:chgData name="Bhushan Madapura [UNext]" userId="2baadad7-7b8e-4632-a62a-dff9a334b569" providerId="ADAL" clId="{F6E155E8-D84C-463E-A3B7-5CF65E1FB393}" dt="2024-08-26T15:11:59.295" v="1337"/>
          <ac:spMkLst>
            <pc:docMk/>
            <pc:sldMk cId="3754613224" sldId="2147375611"/>
            <ac:spMk id="17" creationId="{432B17AC-36EC-2DE0-0988-F03DEA76F34E}"/>
          </ac:spMkLst>
        </pc:spChg>
        <pc:spChg chg="add mod">
          <ac:chgData name="Bhushan Madapura [UNext]" userId="2baadad7-7b8e-4632-a62a-dff9a334b569" providerId="ADAL" clId="{F6E155E8-D84C-463E-A3B7-5CF65E1FB393}" dt="2024-08-26T15:12:27.656" v="1346" actId="14861"/>
          <ac:spMkLst>
            <pc:docMk/>
            <pc:sldMk cId="3754613224" sldId="2147375611"/>
            <ac:spMk id="18" creationId="{6C73795A-BE20-7075-E9C6-6F145CE60794}"/>
          </ac:spMkLst>
        </pc:spChg>
        <pc:spChg chg="add mod">
          <ac:chgData name="Bhushan Madapura [UNext]" userId="2baadad7-7b8e-4632-a62a-dff9a334b569" providerId="ADAL" clId="{F6E155E8-D84C-463E-A3B7-5CF65E1FB393}" dt="2024-08-26T15:12:27.656" v="1346" actId="14861"/>
          <ac:spMkLst>
            <pc:docMk/>
            <pc:sldMk cId="3754613224" sldId="2147375611"/>
            <ac:spMk id="19" creationId="{A3E2F4D1-4417-E244-3DB9-A6FF5866A342}"/>
          </ac:spMkLst>
        </pc:spChg>
        <pc:spChg chg="add mod">
          <ac:chgData name="Bhushan Madapura [UNext]" userId="2baadad7-7b8e-4632-a62a-dff9a334b569" providerId="ADAL" clId="{F6E155E8-D84C-463E-A3B7-5CF65E1FB393}" dt="2024-08-26T15:12:27.656" v="1346" actId="14861"/>
          <ac:spMkLst>
            <pc:docMk/>
            <pc:sldMk cId="3754613224" sldId="2147375611"/>
            <ac:spMk id="20" creationId="{3EBEB0AC-D407-44FD-A74F-90F67F3D13C3}"/>
          </ac:spMkLst>
        </pc:spChg>
        <pc:spChg chg="add mod">
          <ac:chgData name="Bhushan Madapura [UNext]" userId="2baadad7-7b8e-4632-a62a-dff9a334b569" providerId="ADAL" clId="{F6E155E8-D84C-463E-A3B7-5CF65E1FB393}" dt="2024-08-26T15:13:43.010" v="1377" actId="403"/>
          <ac:spMkLst>
            <pc:docMk/>
            <pc:sldMk cId="3754613224" sldId="2147375611"/>
            <ac:spMk id="21" creationId="{DF8FD767-7EE2-8BA3-9320-45A7293391FF}"/>
          </ac:spMkLst>
        </pc:spChg>
        <pc:spChg chg="add mod">
          <ac:chgData name="Bhushan Madapura [UNext]" userId="2baadad7-7b8e-4632-a62a-dff9a334b569" providerId="ADAL" clId="{F6E155E8-D84C-463E-A3B7-5CF65E1FB393}" dt="2024-08-26T15:13:43.010" v="1377" actId="403"/>
          <ac:spMkLst>
            <pc:docMk/>
            <pc:sldMk cId="3754613224" sldId="2147375611"/>
            <ac:spMk id="22" creationId="{9289516E-B769-4A13-DD90-39AC62DED9BD}"/>
          </ac:spMkLst>
        </pc:spChg>
        <pc:spChg chg="add mod">
          <ac:chgData name="Bhushan Madapura [UNext]" userId="2baadad7-7b8e-4632-a62a-dff9a334b569" providerId="ADAL" clId="{F6E155E8-D84C-463E-A3B7-5CF65E1FB393}" dt="2024-08-26T15:13:43.010" v="1377" actId="403"/>
          <ac:spMkLst>
            <pc:docMk/>
            <pc:sldMk cId="3754613224" sldId="2147375611"/>
            <ac:spMk id="23" creationId="{4461DDA7-0DFB-87EE-DF38-AA6219713C1B}"/>
          </ac:spMkLst>
        </pc:spChg>
        <pc:spChg chg="mod">
          <ac:chgData name="Bhushan Madapura [UNext]" userId="2baadad7-7b8e-4632-a62a-dff9a334b569" providerId="ADAL" clId="{F6E155E8-D84C-463E-A3B7-5CF65E1FB393}" dt="2024-08-26T15:14:02.369" v="1379" actId="1076"/>
          <ac:spMkLst>
            <pc:docMk/>
            <pc:sldMk cId="3754613224" sldId="2147375611"/>
            <ac:spMk id="25" creationId="{3A38CCAC-78C9-81D4-1E36-CB51C7166169}"/>
          </ac:spMkLst>
        </pc:spChg>
        <pc:spChg chg="mod">
          <ac:chgData name="Bhushan Madapura [UNext]" userId="2baadad7-7b8e-4632-a62a-dff9a334b569" providerId="ADAL" clId="{F6E155E8-D84C-463E-A3B7-5CF65E1FB393}" dt="2024-08-26T15:14:02.369" v="1379" actId="1076"/>
          <ac:spMkLst>
            <pc:docMk/>
            <pc:sldMk cId="3754613224" sldId="2147375611"/>
            <ac:spMk id="26" creationId="{E083201A-5603-E7AE-C4E0-0A003C89B464}"/>
          </ac:spMkLst>
        </pc:spChg>
        <pc:spChg chg="mod">
          <ac:chgData name="Bhushan Madapura [UNext]" userId="2baadad7-7b8e-4632-a62a-dff9a334b569" providerId="ADAL" clId="{F6E155E8-D84C-463E-A3B7-5CF65E1FB393}" dt="2024-08-26T15:14:02.369" v="1379" actId="1076"/>
          <ac:spMkLst>
            <pc:docMk/>
            <pc:sldMk cId="3754613224" sldId="2147375611"/>
            <ac:spMk id="28" creationId="{0D5B9A7E-609B-61CB-6B76-65F108A044FB}"/>
          </ac:spMkLst>
        </pc:spChg>
        <pc:spChg chg="mod">
          <ac:chgData name="Bhushan Madapura [UNext]" userId="2baadad7-7b8e-4632-a62a-dff9a334b569" providerId="ADAL" clId="{F6E155E8-D84C-463E-A3B7-5CF65E1FB393}" dt="2024-08-26T15:14:02.369" v="1379" actId="1076"/>
          <ac:spMkLst>
            <pc:docMk/>
            <pc:sldMk cId="3754613224" sldId="2147375611"/>
            <ac:spMk id="30" creationId="{6A73770E-F6A1-75D7-11EF-CB4EC6F3B336}"/>
          </ac:spMkLst>
        </pc:spChg>
        <pc:spChg chg="mod">
          <ac:chgData name="Bhushan Madapura [UNext]" userId="2baadad7-7b8e-4632-a62a-dff9a334b569" providerId="ADAL" clId="{F6E155E8-D84C-463E-A3B7-5CF65E1FB393}" dt="2024-08-26T15:14:02.369" v="1379" actId="1076"/>
          <ac:spMkLst>
            <pc:docMk/>
            <pc:sldMk cId="3754613224" sldId="2147375611"/>
            <ac:spMk id="31" creationId="{3529665D-D778-71CC-E4C5-628FF603244E}"/>
          </ac:spMkLst>
        </pc:spChg>
        <pc:spChg chg="mod">
          <ac:chgData name="Bhushan Madapura [UNext]" userId="2baadad7-7b8e-4632-a62a-dff9a334b569" providerId="ADAL" clId="{F6E155E8-D84C-463E-A3B7-5CF65E1FB393}" dt="2024-08-26T15:14:02.369" v="1379" actId="1076"/>
          <ac:spMkLst>
            <pc:docMk/>
            <pc:sldMk cId="3754613224" sldId="2147375611"/>
            <ac:spMk id="32" creationId="{1D07999A-0B9E-EABC-79E7-1E3F332E33D8}"/>
          </ac:spMkLst>
        </pc:spChg>
        <pc:spChg chg="mod">
          <ac:chgData name="Bhushan Madapura [UNext]" userId="2baadad7-7b8e-4632-a62a-dff9a334b569" providerId="ADAL" clId="{F6E155E8-D84C-463E-A3B7-5CF65E1FB393}" dt="2024-08-26T15:14:02.369" v="1379" actId="1076"/>
          <ac:spMkLst>
            <pc:docMk/>
            <pc:sldMk cId="3754613224" sldId="2147375611"/>
            <ac:spMk id="33" creationId="{417F16D0-0B89-5C5D-14AF-5F751A829BE1}"/>
          </ac:spMkLst>
        </pc:spChg>
        <pc:spChg chg="mod">
          <ac:chgData name="Bhushan Madapura [UNext]" userId="2baadad7-7b8e-4632-a62a-dff9a334b569" providerId="ADAL" clId="{F6E155E8-D84C-463E-A3B7-5CF65E1FB393}" dt="2024-08-26T15:14:02.369" v="1379" actId="1076"/>
          <ac:spMkLst>
            <pc:docMk/>
            <pc:sldMk cId="3754613224" sldId="2147375611"/>
            <ac:spMk id="34" creationId="{EBCE8487-1B7B-DC4F-4D30-0095CB46F85B}"/>
          </ac:spMkLst>
        </pc:spChg>
        <pc:spChg chg="mod">
          <ac:chgData name="Bhushan Madapura [UNext]" userId="2baadad7-7b8e-4632-a62a-dff9a334b569" providerId="ADAL" clId="{F6E155E8-D84C-463E-A3B7-5CF65E1FB393}" dt="2024-08-26T15:14:02.369" v="1379" actId="1076"/>
          <ac:spMkLst>
            <pc:docMk/>
            <pc:sldMk cId="3754613224" sldId="2147375611"/>
            <ac:spMk id="35" creationId="{6C353EFD-0A51-247D-9F9E-964856BBE9A0}"/>
          </ac:spMkLst>
        </pc:spChg>
        <pc:spChg chg="mod">
          <ac:chgData name="Bhushan Madapura [UNext]" userId="2baadad7-7b8e-4632-a62a-dff9a334b569" providerId="ADAL" clId="{F6E155E8-D84C-463E-A3B7-5CF65E1FB393}" dt="2024-08-26T15:14:02.369" v="1379" actId="1076"/>
          <ac:spMkLst>
            <pc:docMk/>
            <pc:sldMk cId="3754613224" sldId="2147375611"/>
            <ac:spMk id="37" creationId="{B380DB8B-E26A-8E61-2773-43637836E1B1}"/>
          </ac:spMkLst>
        </pc:spChg>
        <pc:spChg chg="mod">
          <ac:chgData name="Bhushan Madapura [UNext]" userId="2baadad7-7b8e-4632-a62a-dff9a334b569" providerId="ADAL" clId="{F6E155E8-D84C-463E-A3B7-5CF65E1FB393}" dt="2024-08-26T15:14:02.369" v="1379" actId="1076"/>
          <ac:spMkLst>
            <pc:docMk/>
            <pc:sldMk cId="3754613224" sldId="2147375611"/>
            <ac:spMk id="39" creationId="{EA3947DC-A4F0-4BBD-41F0-EA78C084B8E8}"/>
          </ac:spMkLst>
        </pc:spChg>
        <pc:spChg chg="mod">
          <ac:chgData name="Bhushan Madapura [UNext]" userId="2baadad7-7b8e-4632-a62a-dff9a334b569" providerId="ADAL" clId="{F6E155E8-D84C-463E-A3B7-5CF65E1FB393}" dt="2024-08-26T15:14:02.369" v="1379" actId="1076"/>
          <ac:spMkLst>
            <pc:docMk/>
            <pc:sldMk cId="3754613224" sldId="2147375611"/>
            <ac:spMk id="40" creationId="{3CF09D77-F139-589A-402B-7F84A005143C}"/>
          </ac:spMkLst>
        </pc:spChg>
        <pc:spChg chg="mod">
          <ac:chgData name="Bhushan Madapura [UNext]" userId="2baadad7-7b8e-4632-a62a-dff9a334b569" providerId="ADAL" clId="{F6E155E8-D84C-463E-A3B7-5CF65E1FB393}" dt="2024-08-26T15:14:02.369" v="1379" actId="1076"/>
          <ac:spMkLst>
            <pc:docMk/>
            <pc:sldMk cId="3754613224" sldId="2147375611"/>
            <ac:spMk id="41" creationId="{DF1C3F24-8703-6BE4-9364-F8F863E7757D}"/>
          </ac:spMkLst>
        </pc:spChg>
        <pc:spChg chg="mod">
          <ac:chgData name="Bhushan Madapura [UNext]" userId="2baadad7-7b8e-4632-a62a-dff9a334b569" providerId="ADAL" clId="{F6E155E8-D84C-463E-A3B7-5CF65E1FB393}" dt="2024-08-26T15:14:02.369" v="1379" actId="1076"/>
          <ac:spMkLst>
            <pc:docMk/>
            <pc:sldMk cId="3754613224" sldId="2147375611"/>
            <ac:spMk id="42" creationId="{1DE81C7A-C97B-97B8-B392-DBCDDA5F8A07}"/>
          </ac:spMkLst>
        </pc:spChg>
        <pc:spChg chg="mod">
          <ac:chgData name="Bhushan Madapura [UNext]" userId="2baadad7-7b8e-4632-a62a-dff9a334b569" providerId="ADAL" clId="{F6E155E8-D84C-463E-A3B7-5CF65E1FB393}" dt="2024-08-26T15:14:02.369" v="1379" actId="1076"/>
          <ac:spMkLst>
            <pc:docMk/>
            <pc:sldMk cId="3754613224" sldId="2147375611"/>
            <ac:spMk id="44" creationId="{30FC6696-8ED2-5800-8AD1-C2F5C1FCEEDC}"/>
          </ac:spMkLst>
        </pc:spChg>
        <pc:spChg chg="mod">
          <ac:chgData name="Bhushan Madapura [UNext]" userId="2baadad7-7b8e-4632-a62a-dff9a334b569" providerId="ADAL" clId="{F6E155E8-D84C-463E-A3B7-5CF65E1FB393}" dt="2024-08-26T15:14:02.369" v="1379" actId="1076"/>
          <ac:spMkLst>
            <pc:docMk/>
            <pc:sldMk cId="3754613224" sldId="2147375611"/>
            <ac:spMk id="46" creationId="{0B8AAE0D-A0CC-6781-4119-45DC8DA00CC2}"/>
          </ac:spMkLst>
        </pc:spChg>
        <pc:spChg chg="mod">
          <ac:chgData name="Bhushan Madapura [UNext]" userId="2baadad7-7b8e-4632-a62a-dff9a334b569" providerId="ADAL" clId="{F6E155E8-D84C-463E-A3B7-5CF65E1FB393}" dt="2024-08-26T15:14:02.369" v="1379" actId="1076"/>
          <ac:spMkLst>
            <pc:docMk/>
            <pc:sldMk cId="3754613224" sldId="2147375611"/>
            <ac:spMk id="47" creationId="{C4AA161E-775B-9704-92E4-4BAC4DDBBBE7}"/>
          </ac:spMkLst>
        </pc:spChg>
        <pc:spChg chg="mod">
          <ac:chgData name="Bhushan Madapura [UNext]" userId="2baadad7-7b8e-4632-a62a-dff9a334b569" providerId="ADAL" clId="{F6E155E8-D84C-463E-A3B7-5CF65E1FB393}" dt="2024-08-26T15:14:02.369" v="1379" actId="1076"/>
          <ac:spMkLst>
            <pc:docMk/>
            <pc:sldMk cId="3754613224" sldId="2147375611"/>
            <ac:spMk id="48" creationId="{CFC8005E-4EBB-D416-EE9D-B49224478123}"/>
          </ac:spMkLst>
        </pc:spChg>
        <pc:grpChg chg="add mod">
          <ac:chgData name="Bhushan Madapura [UNext]" userId="2baadad7-7b8e-4632-a62a-dff9a334b569" providerId="ADAL" clId="{F6E155E8-D84C-463E-A3B7-5CF65E1FB393}" dt="2024-08-26T15:14:14.777" v="1380" actId="207"/>
          <ac:grpSpMkLst>
            <pc:docMk/>
            <pc:sldMk cId="3754613224" sldId="2147375611"/>
            <ac:grpSpMk id="24" creationId="{DCA04876-65F9-DDA2-9E8E-9D570857B2A5}"/>
          </ac:grpSpMkLst>
        </pc:grpChg>
        <pc:grpChg chg="add mod">
          <ac:chgData name="Bhushan Madapura [UNext]" userId="2baadad7-7b8e-4632-a62a-dff9a334b569" providerId="ADAL" clId="{F6E155E8-D84C-463E-A3B7-5CF65E1FB393}" dt="2024-08-26T15:14:14.777" v="1380" actId="207"/>
          <ac:grpSpMkLst>
            <pc:docMk/>
            <pc:sldMk cId="3754613224" sldId="2147375611"/>
            <ac:grpSpMk id="27" creationId="{B808CBE1-9B84-7818-F1B7-F6B6847390C9}"/>
          </ac:grpSpMkLst>
        </pc:grpChg>
        <pc:grpChg chg="mod">
          <ac:chgData name="Bhushan Madapura [UNext]" userId="2baadad7-7b8e-4632-a62a-dff9a334b569" providerId="ADAL" clId="{F6E155E8-D84C-463E-A3B7-5CF65E1FB393}" dt="2024-08-26T15:14:02.369" v="1379" actId="1076"/>
          <ac:grpSpMkLst>
            <pc:docMk/>
            <pc:sldMk cId="3754613224" sldId="2147375611"/>
            <ac:grpSpMk id="29" creationId="{1C95187E-2D4F-6A0D-B336-8B096F1468D7}"/>
          </ac:grpSpMkLst>
        </pc:grpChg>
        <pc:grpChg chg="add mod">
          <ac:chgData name="Bhushan Madapura [UNext]" userId="2baadad7-7b8e-4632-a62a-dff9a334b569" providerId="ADAL" clId="{F6E155E8-D84C-463E-A3B7-5CF65E1FB393}" dt="2024-08-26T15:14:14.777" v="1380" actId="207"/>
          <ac:grpSpMkLst>
            <pc:docMk/>
            <pc:sldMk cId="3754613224" sldId="2147375611"/>
            <ac:grpSpMk id="36" creationId="{687B6C54-1790-E64F-C35E-76DA0084E125}"/>
          </ac:grpSpMkLst>
        </pc:grpChg>
        <pc:grpChg chg="mod">
          <ac:chgData name="Bhushan Madapura [UNext]" userId="2baadad7-7b8e-4632-a62a-dff9a334b569" providerId="ADAL" clId="{F6E155E8-D84C-463E-A3B7-5CF65E1FB393}" dt="2024-08-26T15:14:02.369" v="1379" actId="1076"/>
          <ac:grpSpMkLst>
            <pc:docMk/>
            <pc:sldMk cId="3754613224" sldId="2147375611"/>
            <ac:grpSpMk id="38" creationId="{31961FAE-21E7-F95B-70E1-CB3C7A6E0466}"/>
          </ac:grpSpMkLst>
        </pc:grpChg>
        <pc:grpChg chg="add mod">
          <ac:chgData name="Bhushan Madapura [UNext]" userId="2baadad7-7b8e-4632-a62a-dff9a334b569" providerId="ADAL" clId="{F6E155E8-D84C-463E-A3B7-5CF65E1FB393}" dt="2024-08-26T15:14:14.777" v="1380" actId="207"/>
          <ac:grpSpMkLst>
            <pc:docMk/>
            <pc:sldMk cId="3754613224" sldId="2147375611"/>
            <ac:grpSpMk id="43" creationId="{3B45C904-9ACC-B1CD-AC94-A5F94AF041AF}"/>
          </ac:grpSpMkLst>
        </pc:grpChg>
        <pc:grpChg chg="mod">
          <ac:chgData name="Bhushan Madapura [UNext]" userId="2baadad7-7b8e-4632-a62a-dff9a334b569" providerId="ADAL" clId="{F6E155E8-D84C-463E-A3B7-5CF65E1FB393}" dt="2024-08-26T15:14:02.369" v="1379" actId="1076"/>
          <ac:grpSpMkLst>
            <pc:docMk/>
            <pc:sldMk cId="3754613224" sldId="2147375611"/>
            <ac:grpSpMk id="45" creationId="{6B0F16DB-169E-EC84-058E-2EA7335875D9}"/>
          </ac:grpSpMkLst>
        </pc:grpChg>
        <pc:graphicFrameChg chg="mod">
          <ac:chgData name="Bhushan Madapura [UNext]" userId="2baadad7-7b8e-4632-a62a-dff9a334b569" providerId="ADAL" clId="{F6E155E8-D84C-463E-A3B7-5CF65E1FB393}" dt="2024-08-26T15:11:59.300" v="1339"/>
          <ac:graphicFrameMkLst>
            <pc:docMk/>
            <pc:sldMk cId="3754613224" sldId="2147375611"/>
            <ac:graphicFrameMk id="7" creationId="{3583FF9E-539E-FE29-E73B-3EF7E093601C}"/>
          </ac:graphicFrameMkLst>
        </pc:graphicFrameChg>
        <pc:picChg chg="del">
          <ac:chgData name="Bhushan Madapura [UNext]" userId="2baadad7-7b8e-4632-a62a-dff9a334b569" providerId="ADAL" clId="{F6E155E8-D84C-463E-A3B7-5CF65E1FB393}" dt="2024-08-26T15:11:14.539" v="1030" actId="478"/>
          <ac:picMkLst>
            <pc:docMk/>
            <pc:sldMk cId="3754613224" sldId="2147375611"/>
            <ac:picMk id="2" creationId="{D0FBC2C9-FE71-44D5-391E-1BAA2958F5EE}"/>
          </ac:picMkLst>
        </pc:picChg>
        <pc:picChg chg="add mod">
          <ac:chgData name="Bhushan Madapura [UNext]" userId="2baadad7-7b8e-4632-a62a-dff9a334b569" providerId="ADAL" clId="{F6E155E8-D84C-463E-A3B7-5CF65E1FB393}" dt="2024-08-26T15:11:19.640" v="1032" actId="1076"/>
          <ac:picMkLst>
            <pc:docMk/>
            <pc:sldMk cId="3754613224" sldId="2147375611"/>
            <ac:picMk id="5" creationId="{B5EEB56D-B388-3B36-90D7-E1D1797C4F6C}"/>
          </ac:picMkLst>
        </pc:picChg>
      </pc:sldChg>
      <pc:sldChg chg="add del">
        <pc:chgData name="Bhushan Madapura [UNext]" userId="2baadad7-7b8e-4632-a62a-dff9a334b569" providerId="ADAL" clId="{F6E155E8-D84C-463E-A3B7-5CF65E1FB393}" dt="2024-08-26T15:11:05.550" v="1029"/>
        <pc:sldMkLst>
          <pc:docMk/>
          <pc:sldMk cId="433381282" sldId="2147375612"/>
        </pc:sldMkLst>
      </pc:sldChg>
      <pc:sldChg chg="addSp delSp modSp add mod">
        <pc:chgData name="Bhushan Madapura [UNext]" userId="2baadad7-7b8e-4632-a62a-dff9a334b569" providerId="ADAL" clId="{F6E155E8-D84C-463E-A3B7-5CF65E1FB393}" dt="2024-08-26T15:14:52.931" v="1405" actId="207"/>
        <pc:sldMkLst>
          <pc:docMk/>
          <pc:sldMk cId="660662221" sldId="2147375612"/>
        </pc:sldMkLst>
        <pc:spChg chg="mod">
          <ac:chgData name="Bhushan Madapura [UNext]" userId="2baadad7-7b8e-4632-a62a-dff9a334b569" providerId="ADAL" clId="{F6E155E8-D84C-463E-A3B7-5CF65E1FB393}" dt="2024-08-26T15:14:41.582" v="1402" actId="20577"/>
          <ac:spMkLst>
            <pc:docMk/>
            <pc:sldMk cId="660662221" sldId="2147375612"/>
            <ac:spMk id="3" creationId="{C02D07F7-B946-BB66-E6EA-DD92C38B1926}"/>
          </ac:spMkLst>
        </pc:spChg>
        <pc:picChg chg="add mod">
          <ac:chgData name="Bhushan Madapura [UNext]" userId="2baadad7-7b8e-4632-a62a-dff9a334b569" providerId="ADAL" clId="{F6E155E8-D84C-463E-A3B7-5CF65E1FB393}" dt="2024-08-26T15:14:52.931" v="1405" actId="207"/>
          <ac:picMkLst>
            <pc:docMk/>
            <pc:sldMk cId="660662221" sldId="2147375612"/>
            <ac:picMk id="2" creationId="{05221367-599F-F73C-4BD3-0C82C72014FC}"/>
          </ac:picMkLst>
        </pc:picChg>
        <pc:picChg chg="del">
          <ac:chgData name="Bhushan Madapura [UNext]" userId="2baadad7-7b8e-4632-a62a-dff9a334b569" providerId="ADAL" clId="{F6E155E8-D84C-463E-A3B7-5CF65E1FB393}" dt="2024-08-26T15:14:44.384" v="1403" actId="478"/>
          <ac:picMkLst>
            <pc:docMk/>
            <pc:sldMk cId="660662221" sldId="2147375612"/>
            <ac:picMk id="4" creationId="{B5F8A401-110E-E4BD-2FD5-DBD699116CE7}"/>
          </ac:picMkLst>
        </pc:picChg>
      </pc:sldChg>
      <pc:sldChg chg="addSp delSp modSp add mod">
        <pc:chgData name="Bhushan Madapura [UNext]" userId="2baadad7-7b8e-4632-a62a-dff9a334b569" providerId="ADAL" clId="{F6E155E8-D84C-463E-A3B7-5CF65E1FB393}" dt="2024-08-26T15:16:32.781" v="1533" actId="122"/>
        <pc:sldMkLst>
          <pc:docMk/>
          <pc:sldMk cId="1148838763" sldId="2147375613"/>
        </pc:sldMkLst>
        <pc:spChg chg="mod">
          <ac:chgData name="Bhushan Madapura [UNext]" userId="2baadad7-7b8e-4632-a62a-dff9a334b569" providerId="ADAL" clId="{F6E155E8-D84C-463E-A3B7-5CF65E1FB393}" dt="2024-08-26T15:15:48.857" v="1485" actId="948"/>
          <ac:spMkLst>
            <pc:docMk/>
            <pc:sldMk cId="1148838763" sldId="2147375613"/>
            <ac:spMk id="3" creationId="{CEA128C4-A0BC-A895-713C-306E7FF62894}"/>
          </ac:spMkLst>
        </pc:spChg>
        <pc:spChg chg="add del mod modVis">
          <ac:chgData name="Bhushan Madapura [UNext]" userId="2baadad7-7b8e-4632-a62a-dff9a334b569" providerId="ADAL" clId="{F6E155E8-D84C-463E-A3B7-5CF65E1FB393}" dt="2024-08-26T15:15:47.610" v="1454"/>
          <ac:spMkLst>
            <pc:docMk/>
            <pc:sldMk cId="1148838763" sldId="2147375613"/>
            <ac:spMk id="6" creationId="{7A533F93-1145-78FC-44EC-2D1FF0070EC8}"/>
          </ac:spMkLst>
        </pc:spChg>
        <pc:spChg chg="add del mod modVis">
          <ac:chgData name="Bhushan Madapura [UNext]" userId="2baadad7-7b8e-4632-a62a-dff9a334b569" providerId="ADAL" clId="{F6E155E8-D84C-463E-A3B7-5CF65E1FB393}" dt="2024-08-26T15:15:48.320" v="1481"/>
          <ac:spMkLst>
            <pc:docMk/>
            <pc:sldMk cId="1148838763" sldId="2147375613"/>
            <ac:spMk id="8" creationId="{D10124C6-6D24-43E2-53F9-F1CAF3218B04}"/>
          </ac:spMkLst>
        </pc:spChg>
        <pc:spChg chg="add del mod modVis">
          <ac:chgData name="Bhushan Madapura [UNext]" userId="2baadad7-7b8e-4632-a62a-dff9a334b569" providerId="ADAL" clId="{F6E155E8-D84C-463E-A3B7-5CF65E1FB393}" dt="2024-08-26T15:15:48.904" v="1507"/>
          <ac:spMkLst>
            <pc:docMk/>
            <pc:sldMk cId="1148838763" sldId="2147375613"/>
            <ac:spMk id="9" creationId="{9119CDCB-874F-9FE0-026A-9813546EEE2D}"/>
          </ac:spMkLst>
        </pc:spChg>
        <pc:spChg chg="add mod">
          <ac:chgData name="Bhushan Madapura [UNext]" userId="2baadad7-7b8e-4632-a62a-dff9a334b569" providerId="ADAL" clId="{F6E155E8-D84C-463E-A3B7-5CF65E1FB393}" dt="2024-08-26T15:16:21.486" v="1532" actId="207"/>
          <ac:spMkLst>
            <pc:docMk/>
            <pc:sldMk cId="1148838763" sldId="2147375613"/>
            <ac:spMk id="11" creationId="{8CC1343B-2E39-FEFF-8FF6-46822F18B432}"/>
          </ac:spMkLst>
        </pc:spChg>
        <pc:spChg chg="add mod">
          <ac:chgData name="Bhushan Madapura [UNext]" userId="2baadad7-7b8e-4632-a62a-dff9a334b569" providerId="ADAL" clId="{F6E155E8-D84C-463E-A3B7-5CF65E1FB393}" dt="2024-08-26T15:16:32.781" v="1533" actId="122"/>
          <ac:spMkLst>
            <pc:docMk/>
            <pc:sldMk cId="1148838763" sldId="2147375613"/>
            <ac:spMk id="12" creationId="{5A873A1A-E63F-91AE-7D43-ED0F86870147}"/>
          </ac:spMkLst>
        </pc:spChg>
        <pc:spChg chg="del">
          <ac:chgData name="Bhushan Madapura [UNext]" userId="2baadad7-7b8e-4632-a62a-dff9a334b569" providerId="ADAL" clId="{F6E155E8-D84C-463E-A3B7-5CF65E1FB393}" dt="2024-08-26T15:15:37.243" v="1413" actId="478"/>
          <ac:spMkLst>
            <pc:docMk/>
            <pc:sldMk cId="1148838763" sldId="2147375613"/>
            <ac:spMk id="18" creationId="{6C73795A-BE20-7075-E9C6-6F145CE60794}"/>
          </ac:spMkLst>
        </pc:spChg>
        <pc:spChg chg="del">
          <ac:chgData name="Bhushan Madapura [UNext]" userId="2baadad7-7b8e-4632-a62a-dff9a334b569" providerId="ADAL" clId="{F6E155E8-D84C-463E-A3B7-5CF65E1FB393}" dt="2024-08-26T15:15:37.243" v="1413" actId="478"/>
          <ac:spMkLst>
            <pc:docMk/>
            <pc:sldMk cId="1148838763" sldId="2147375613"/>
            <ac:spMk id="19" creationId="{A3E2F4D1-4417-E244-3DB9-A6FF5866A342}"/>
          </ac:spMkLst>
        </pc:spChg>
        <pc:spChg chg="del">
          <ac:chgData name="Bhushan Madapura [UNext]" userId="2baadad7-7b8e-4632-a62a-dff9a334b569" providerId="ADAL" clId="{F6E155E8-D84C-463E-A3B7-5CF65E1FB393}" dt="2024-08-26T15:15:37.243" v="1413" actId="478"/>
          <ac:spMkLst>
            <pc:docMk/>
            <pc:sldMk cId="1148838763" sldId="2147375613"/>
            <ac:spMk id="20" creationId="{3EBEB0AC-D407-44FD-A74F-90F67F3D13C3}"/>
          </ac:spMkLst>
        </pc:spChg>
        <pc:spChg chg="del">
          <ac:chgData name="Bhushan Madapura [UNext]" userId="2baadad7-7b8e-4632-a62a-dff9a334b569" providerId="ADAL" clId="{F6E155E8-D84C-463E-A3B7-5CF65E1FB393}" dt="2024-08-26T15:15:37.243" v="1413" actId="478"/>
          <ac:spMkLst>
            <pc:docMk/>
            <pc:sldMk cId="1148838763" sldId="2147375613"/>
            <ac:spMk id="21" creationId="{DF8FD767-7EE2-8BA3-9320-45A7293391FF}"/>
          </ac:spMkLst>
        </pc:spChg>
        <pc:spChg chg="del">
          <ac:chgData name="Bhushan Madapura [UNext]" userId="2baadad7-7b8e-4632-a62a-dff9a334b569" providerId="ADAL" clId="{F6E155E8-D84C-463E-A3B7-5CF65E1FB393}" dt="2024-08-26T15:15:37.243" v="1413" actId="478"/>
          <ac:spMkLst>
            <pc:docMk/>
            <pc:sldMk cId="1148838763" sldId="2147375613"/>
            <ac:spMk id="22" creationId="{9289516E-B769-4A13-DD90-39AC62DED9BD}"/>
          </ac:spMkLst>
        </pc:spChg>
        <pc:spChg chg="del">
          <ac:chgData name="Bhushan Madapura [UNext]" userId="2baadad7-7b8e-4632-a62a-dff9a334b569" providerId="ADAL" clId="{F6E155E8-D84C-463E-A3B7-5CF65E1FB393}" dt="2024-08-26T15:15:37.243" v="1413" actId="478"/>
          <ac:spMkLst>
            <pc:docMk/>
            <pc:sldMk cId="1148838763" sldId="2147375613"/>
            <ac:spMk id="23" creationId="{4461DDA7-0DFB-87EE-DF38-AA6219713C1B}"/>
          </ac:spMkLst>
        </pc:spChg>
        <pc:grpChg chg="del">
          <ac:chgData name="Bhushan Madapura [UNext]" userId="2baadad7-7b8e-4632-a62a-dff9a334b569" providerId="ADAL" clId="{F6E155E8-D84C-463E-A3B7-5CF65E1FB393}" dt="2024-08-26T15:15:53.458" v="1510" actId="478"/>
          <ac:grpSpMkLst>
            <pc:docMk/>
            <pc:sldMk cId="1148838763" sldId="2147375613"/>
            <ac:grpSpMk id="24" creationId="{DCA04876-65F9-DDA2-9E8E-9D570857B2A5}"/>
          </ac:grpSpMkLst>
        </pc:grpChg>
        <pc:grpChg chg="del mod">
          <ac:chgData name="Bhushan Madapura [UNext]" userId="2baadad7-7b8e-4632-a62a-dff9a334b569" providerId="ADAL" clId="{F6E155E8-D84C-463E-A3B7-5CF65E1FB393}" dt="2024-08-26T15:15:53.458" v="1510" actId="478"/>
          <ac:grpSpMkLst>
            <pc:docMk/>
            <pc:sldMk cId="1148838763" sldId="2147375613"/>
            <ac:grpSpMk id="27" creationId="{B808CBE1-9B84-7818-F1B7-F6B6847390C9}"/>
          </ac:grpSpMkLst>
        </pc:grpChg>
        <pc:grpChg chg="del">
          <ac:chgData name="Bhushan Madapura [UNext]" userId="2baadad7-7b8e-4632-a62a-dff9a334b569" providerId="ADAL" clId="{F6E155E8-D84C-463E-A3B7-5CF65E1FB393}" dt="2024-08-26T15:15:53.458" v="1510" actId="478"/>
          <ac:grpSpMkLst>
            <pc:docMk/>
            <pc:sldMk cId="1148838763" sldId="2147375613"/>
            <ac:grpSpMk id="36" creationId="{687B6C54-1790-E64F-C35E-76DA0084E125}"/>
          </ac:grpSpMkLst>
        </pc:grpChg>
        <pc:grpChg chg="del">
          <ac:chgData name="Bhushan Madapura [UNext]" userId="2baadad7-7b8e-4632-a62a-dff9a334b569" providerId="ADAL" clId="{F6E155E8-D84C-463E-A3B7-5CF65E1FB393}" dt="2024-08-26T15:15:53.458" v="1510" actId="478"/>
          <ac:grpSpMkLst>
            <pc:docMk/>
            <pc:sldMk cId="1148838763" sldId="2147375613"/>
            <ac:grpSpMk id="43" creationId="{3B45C904-9ACC-B1CD-AC94-A5F94AF041AF}"/>
          </ac:grpSpMkLst>
        </pc:grpChg>
        <pc:graphicFrameChg chg="mod">
          <ac:chgData name="Bhushan Madapura [UNext]" userId="2baadad7-7b8e-4632-a62a-dff9a334b569" providerId="ADAL" clId="{F6E155E8-D84C-463E-A3B7-5CF65E1FB393}" dt="2024-08-26T15:15:48.904" v="1509"/>
          <ac:graphicFrameMkLst>
            <pc:docMk/>
            <pc:sldMk cId="1148838763" sldId="2147375613"/>
            <ac:graphicFrameMk id="7" creationId="{3583FF9E-539E-FE29-E73B-3EF7E093601C}"/>
          </ac:graphicFrameMkLst>
        </pc:graphicFrameChg>
        <pc:picChg chg="add mod">
          <ac:chgData name="Bhushan Madapura [UNext]" userId="2baadad7-7b8e-4632-a62a-dff9a334b569" providerId="ADAL" clId="{F6E155E8-D84C-463E-A3B7-5CF65E1FB393}" dt="2024-08-26T15:15:31.036" v="1412" actId="207"/>
          <ac:picMkLst>
            <pc:docMk/>
            <pc:sldMk cId="1148838763" sldId="2147375613"/>
            <ac:picMk id="2" creationId="{09B39B69-AA92-EAA5-718F-24380CF24656}"/>
          </ac:picMkLst>
        </pc:picChg>
        <pc:picChg chg="del">
          <ac:chgData name="Bhushan Madapura [UNext]" userId="2baadad7-7b8e-4632-a62a-dff9a334b569" providerId="ADAL" clId="{F6E155E8-D84C-463E-A3B7-5CF65E1FB393}" dt="2024-08-26T15:15:09.941" v="1407" actId="478"/>
          <ac:picMkLst>
            <pc:docMk/>
            <pc:sldMk cId="1148838763" sldId="2147375613"/>
            <ac:picMk id="5" creationId="{B5EEB56D-B388-3B36-90D7-E1D1797C4F6C}"/>
          </ac:picMkLst>
        </pc:picChg>
      </pc:sldChg>
      <pc:sldChg chg="addSp delSp modSp add mod">
        <pc:chgData name="Bhushan Madapura [UNext]" userId="2baadad7-7b8e-4632-a62a-dff9a334b569" providerId="ADAL" clId="{F6E155E8-D84C-463E-A3B7-5CF65E1FB393}" dt="2024-08-26T15:18:14.699" v="1565" actId="20577"/>
        <pc:sldMkLst>
          <pc:docMk/>
          <pc:sldMk cId="3865850111" sldId="2147375614"/>
        </pc:sldMkLst>
        <pc:spChg chg="mod">
          <ac:chgData name="Bhushan Madapura [UNext]" userId="2baadad7-7b8e-4632-a62a-dff9a334b569" providerId="ADAL" clId="{F6E155E8-D84C-463E-A3B7-5CF65E1FB393}" dt="2024-08-26T15:16:59.035" v="1542" actId="948"/>
          <ac:spMkLst>
            <pc:docMk/>
            <pc:sldMk cId="3865850111" sldId="2147375614"/>
            <ac:spMk id="3" creationId="{CEA128C4-A0BC-A895-713C-306E7FF62894}"/>
          </ac:spMkLst>
        </pc:spChg>
        <pc:spChg chg="add mod">
          <ac:chgData name="Bhushan Madapura [UNext]" userId="2baadad7-7b8e-4632-a62a-dff9a334b569" providerId="ADAL" clId="{F6E155E8-D84C-463E-A3B7-5CF65E1FB393}" dt="2024-08-26T15:18:14.699" v="1565" actId="20577"/>
          <ac:spMkLst>
            <pc:docMk/>
            <pc:sldMk cId="3865850111" sldId="2147375614"/>
            <ac:spMk id="6" creationId="{AC2F88D2-81D4-FAD4-568E-A3F495B06411}"/>
          </ac:spMkLst>
        </pc:spChg>
        <pc:spChg chg="del">
          <ac:chgData name="Bhushan Madapura [UNext]" userId="2baadad7-7b8e-4632-a62a-dff9a334b569" providerId="ADAL" clId="{F6E155E8-D84C-463E-A3B7-5CF65E1FB393}" dt="2024-08-26T15:17:18.476" v="1549" actId="478"/>
          <ac:spMkLst>
            <pc:docMk/>
            <pc:sldMk cId="3865850111" sldId="2147375614"/>
            <ac:spMk id="11" creationId="{8CC1343B-2E39-FEFF-8FF6-46822F18B432}"/>
          </ac:spMkLst>
        </pc:spChg>
        <pc:spChg chg="del">
          <ac:chgData name="Bhushan Madapura [UNext]" userId="2baadad7-7b8e-4632-a62a-dff9a334b569" providerId="ADAL" clId="{F6E155E8-D84C-463E-A3B7-5CF65E1FB393}" dt="2024-08-26T15:17:18.476" v="1549" actId="478"/>
          <ac:spMkLst>
            <pc:docMk/>
            <pc:sldMk cId="3865850111" sldId="2147375614"/>
            <ac:spMk id="12" creationId="{5A873A1A-E63F-91AE-7D43-ED0F86870147}"/>
          </ac:spMkLst>
        </pc:spChg>
        <pc:graphicFrameChg chg="mod">
          <ac:chgData name="Bhushan Madapura [UNext]" userId="2baadad7-7b8e-4632-a62a-dff9a334b569" providerId="ADAL" clId="{F6E155E8-D84C-463E-A3B7-5CF65E1FB393}" dt="2024-08-26T15:16:59.048" v="1544"/>
          <ac:graphicFrameMkLst>
            <pc:docMk/>
            <pc:sldMk cId="3865850111" sldId="2147375614"/>
            <ac:graphicFrameMk id="7" creationId="{3583FF9E-539E-FE29-E73B-3EF7E093601C}"/>
          </ac:graphicFrameMkLst>
        </pc:graphicFrameChg>
        <pc:picChg chg="del">
          <ac:chgData name="Bhushan Madapura [UNext]" userId="2baadad7-7b8e-4632-a62a-dff9a334b569" providerId="ADAL" clId="{F6E155E8-D84C-463E-A3B7-5CF65E1FB393}" dt="2024-08-26T15:17:07.109" v="1545" actId="478"/>
          <ac:picMkLst>
            <pc:docMk/>
            <pc:sldMk cId="3865850111" sldId="2147375614"/>
            <ac:picMk id="2" creationId="{09B39B69-AA92-EAA5-718F-24380CF24656}"/>
          </ac:picMkLst>
        </pc:picChg>
        <pc:picChg chg="add mod">
          <ac:chgData name="Bhushan Madapura [UNext]" userId="2baadad7-7b8e-4632-a62a-dff9a334b569" providerId="ADAL" clId="{F6E155E8-D84C-463E-A3B7-5CF65E1FB393}" dt="2024-08-26T15:17:14.481" v="1548" actId="207"/>
          <ac:picMkLst>
            <pc:docMk/>
            <pc:sldMk cId="3865850111" sldId="2147375614"/>
            <ac:picMk id="5" creationId="{4C05FBB4-1D96-ED51-AB17-618E4D4052D9}"/>
          </ac:picMkLst>
        </pc:picChg>
      </pc:sldChg>
      <pc:sldMasterChg chg="delSldLayout">
        <pc:chgData name="Bhushan Madapura [UNext]" userId="2baadad7-7b8e-4632-a62a-dff9a334b569" providerId="ADAL" clId="{F6E155E8-D84C-463E-A3B7-5CF65E1FB393}" dt="2024-08-26T15:18:21.903" v="1573" actId="47"/>
        <pc:sldMasterMkLst>
          <pc:docMk/>
          <pc:sldMasterMk cId="2597032904" sldId="2147483648"/>
        </pc:sldMasterMkLst>
        <pc:sldLayoutChg chg="del">
          <pc:chgData name="Bhushan Madapura [UNext]" userId="2baadad7-7b8e-4632-a62a-dff9a334b569" providerId="ADAL" clId="{F6E155E8-D84C-463E-A3B7-5CF65E1FB393}" dt="2024-08-26T15:18:21.903" v="1573" actId="47"/>
          <pc:sldLayoutMkLst>
            <pc:docMk/>
            <pc:sldMasterMk cId="2597032904" sldId="2147483648"/>
            <pc:sldLayoutMk cId="351042113" sldId="2147483667"/>
          </pc:sldLayoutMkLst>
        </pc:sldLayoutChg>
      </pc:sldMasterChg>
    </pc:docChg>
  </pc:docChgLst>
  <pc:docChgLst>
    <pc:chgData name="Bhushan Madapura [UNext]" userId="2baadad7-7b8e-4632-a62a-dff9a334b569" providerId="ADAL" clId="{8AA35C18-0C06-49EF-AC0C-5255EBFFF153}"/>
    <pc:docChg chg="modSld">
      <pc:chgData name="Bhushan Madapura [UNext]" userId="2baadad7-7b8e-4632-a62a-dff9a334b569" providerId="ADAL" clId="{8AA35C18-0C06-49EF-AC0C-5255EBFFF153}" dt="2024-08-23T04:50:16.802" v="0" actId="14861"/>
      <pc:docMkLst>
        <pc:docMk/>
      </pc:docMkLst>
      <pc:sldChg chg="modSp mod">
        <pc:chgData name="Bhushan Madapura [UNext]" userId="2baadad7-7b8e-4632-a62a-dff9a334b569" providerId="ADAL" clId="{8AA35C18-0C06-49EF-AC0C-5255EBFFF153}" dt="2024-08-23T04:50:16.802" v="0" actId="14861"/>
        <pc:sldMkLst>
          <pc:docMk/>
          <pc:sldMk cId="349082050" sldId="2147375595"/>
        </pc:sldMkLst>
        <pc:picChg chg="mod">
          <ac:chgData name="Bhushan Madapura [UNext]" userId="2baadad7-7b8e-4632-a62a-dff9a334b569" providerId="ADAL" clId="{8AA35C18-0C06-49EF-AC0C-5255EBFFF153}" dt="2024-08-23T04:50:16.802" v="0" actId="14861"/>
          <ac:picMkLst>
            <pc:docMk/>
            <pc:sldMk cId="349082050" sldId="2147375595"/>
            <ac:picMk id="3" creationId="{6138DF7C-3FF2-7FE5-FD04-5EBB2C596F9F}"/>
          </ac:picMkLst>
        </pc:picChg>
      </pc:sldChg>
    </pc:docChg>
  </pc:docChgLst>
  <pc:docChgLst>
    <pc:chgData name="Chakraborty, Rohita SBOBNG-PTIY/TCBC" userId="cf4991cc-9c30-4798-8d3b-d099c236116d" providerId="ADAL" clId="{980AF270-BCF9-4F8F-B3E8-879A80E43E88}"/>
    <pc:docChg chg="undo custSel addSld modSld">
      <pc:chgData name="Chakraborty, Rohita SBOBNG-PTIY/TCBC" userId="cf4991cc-9c30-4798-8d3b-d099c236116d" providerId="ADAL" clId="{980AF270-BCF9-4F8F-B3E8-879A80E43E88}" dt="2024-08-30T14:48:36.129" v="4677"/>
      <pc:docMkLst>
        <pc:docMk/>
      </pc:docMkLst>
      <pc:sldChg chg="addSp modSp mod">
        <pc:chgData name="Chakraborty, Rohita SBOBNG-PTIY/TCBC" userId="cf4991cc-9c30-4798-8d3b-d099c236116d" providerId="ADAL" clId="{980AF270-BCF9-4F8F-B3E8-879A80E43E88}" dt="2024-08-30T08:20:45.484" v="373" actId="27614"/>
        <pc:sldMkLst>
          <pc:docMk/>
          <pc:sldMk cId="3267775274" sldId="256"/>
        </pc:sldMkLst>
        <pc:spChg chg="mod">
          <ac:chgData name="Chakraborty, Rohita SBOBNG-PTIY/TCBC" userId="cf4991cc-9c30-4798-8d3b-d099c236116d" providerId="ADAL" clId="{980AF270-BCF9-4F8F-B3E8-879A80E43E88}" dt="2024-08-30T03:01:56.639" v="5" actId="20577"/>
          <ac:spMkLst>
            <pc:docMk/>
            <pc:sldMk cId="3267775274" sldId="256"/>
            <ac:spMk id="6" creationId="{0C37A4A8-A3C7-407F-B123-88E2E165C827}"/>
          </ac:spMkLst>
        </pc:spChg>
        <pc:spChg chg="mod">
          <ac:chgData name="Chakraborty, Rohita SBOBNG-PTIY/TCBC" userId="cf4991cc-9c30-4798-8d3b-d099c236116d" providerId="ADAL" clId="{980AF270-BCF9-4F8F-B3E8-879A80E43E88}" dt="2024-08-30T03:02:09.978" v="29" actId="20577"/>
          <ac:spMkLst>
            <pc:docMk/>
            <pc:sldMk cId="3267775274" sldId="256"/>
            <ac:spMk id="12" creationId="{8A24547F-8A92-CDC5-A578-3733390534F2}"/>
          </ac:spMkLst>
        </pc:spChg>
        <pc:picChg chg="add mod">
          <ac:chgData name="Chakraborty, Rohita SBOBNG-PTIY/TCBC" userId="cf4991cc-9c30-4798-8d3b-d099c236116d" providerId="ADAL" clId="{980AF270-BCF9-4F8F-B3E8-879A80E43E88}" dt="2024-08-30T08:20:45.484" v="373" actId="27614"/>
          <ac:picMkLst>
            <pc:docMk/>
            <pc:sldMk cId="3267775274" sldId="256"/>
            <ac:picMk id="3" creationId="{DC2041A8-2E74-DA0D-58F5-DA2D30545139}"/>
          </ac:picMkLst>
        </pc:picChg>
      </pc:sldChg>
      <pc:sldChg chg="addSp modSp mod">
        <pc:chgData name="Chakraborty, Rohita SBOBNG-PTIY/TCBC" userId="cf4991cc-9c30-4798-8d3b-d099c236116d" providerId="ADAL" clId="{980AF270-BCF9-4F8F-B3E8-879A80E43E88}" dt="2024-08-30T03:10:30.183" v="85" actId="33524"/>
        <pc:sldMkLst>
          <pc:docMk/>
          <pc:sldMk cId="867832184" sldId="2147375589"/>
        </pc:sldMkLst>
        <pc:spChg chg="add">
          <ac:chgData name="Chakraborty, Rohita SBOBNG-PTIY/TCBC" userId="cf4991cc-9c30-4798-8d3b-d099c236116d" providerId="ADAL" clId="{980AF270-BCF9-4F8F-B3E8-879A80E43E88}" dt="2024-08-30T03:10:09.418" v="81"/>
          <ac:spMkLst>
            <pc:docMk/>
            <pc:sldMk cId="867832184" sldId="2147375589"/>
            <ac:spMk id="2" creationId="{1D9B47B8-924D-7EFD-D343-2B237AA5D61A}"/>
          </ac:spMkLst>
        </pc:spChg>
        <pc:spChg chg="mod">
          <ac:chgData name="Chakraborty, Rohita SBOBNG-PTIY/TCBC" userId="cf4991cc-9c30-4798-8d3b-d099c236116d" providerId="ADAL" clId="{980AF270-BCF9-4F8F-B3E8-879A80E43E88}" dt="2024-08-30T03:10:30.183" v="85" actId="33524"/>
          <ac:spMkLst>
            <pc:docMk/>
            <pc:sldMk cId="867832184" sldId="2147375589"/>
            <ac:spMk id="10" creationId="{1119CB9E-042F-11E8-F683-654626D307B3}"/>
          </ac:spMkLst>
        </pc:spChg>
        <pc:spChg chg="mod">
          <ac:chgData name="Chakraborty, Rohita SBOBNG-PTIY/TCBC" userId="cf4991cc-9c30-4798-8d3b-d099c236116d" providerId="ADAL" clId="{980AF270-BCF9-4F8F-B3E8-879A80E43E88}" dt="2024-08-30T03:10:07.002" v="80" actId="20577"/>
          <ac:spMkLst>
            <pc:docMk/>
            <pc:sldMk cId="867832184" sldId="2147375589"/>
            <ac:spMk id="11" creationId="{CE0DDF5F-FE47-F9A2-FE84-53B63DFF494D}"/>
          </ac:spMkLst>
        </pc:spChg>
        <pc:picChg chg="add mod">
          <ac:chgData name="Chakraborty, Rohita SBOBNG-PTIY/TCBC" userId="cf4991cc-9c30-4798-8d3b-d099c236116d" providerId="ADAL" clId="{980AF270-BCF9-4F8F-B3E8-879A80E43E88}" dt="2024-08-30T03:10:18.723" v="84" actId="1076"/>
          <ac:picMkLst>
            <pc:docMk/>
            <pc:sldMk cId="867832184" sldId="2147375589"/>
            <ac:picMk id="6" creationId="{F1F56A95-56E0-55D0-A886-9FB00FAE2312}"/>
          </ac:picMkLst>
        </pc:picChg>
      </pc:sldChg>
      <pc:sldChg chg="addSp modSp mod">
        <pc:chgData name="Chakraborty, Rohita SBOBNG-PTIY/TCBC" userId="cf4991cc-9c30-4798-8d3b-d099c236116d" providerId="ADAL" clId="{980AF270-BCF9-4F8F-B3E8-879A80E43E88}" dt="2024-08-30T11:49:41.030" v="2122" actId="123"/>
        <pc:sldMkLst>
          <pc:docMk/>
          <pc:sldMk cId="245881457" sldId="2147375597"/>
        </pc:sldMkLst>
        <pc:spChg chg="mod">
          <ac:chgData name="Chakraborty, Rohita SBOBNG-PTIY/TCBC" userId="cf4991cc-9c30-4798-8d3b-d099c236116d" providerId="ADAL" clId="{980AF270-BCF9-4F8F-B3E8-879A80E43E88}" dt="2024-08-30T03:11:56.455" v="96" actId="20577"/>
          <ac:spMkLst>
            <pc:docMk/>
            <pc:sldMk cId="245881457" sldId="2147375597"/>
            <ac:spMk id="3" creationId="{CEA128C4-A0BC-A895-713C-306E7FF62894}"/>
          </ac:spMkLst>
        </pc:spChg>
        <pc:spChg chg="mod">
          <ac:chgData name="Chakraborty, Rohita SBOBNG-PTIY/TCBC" userId="cf4991cc-9c30-4798-8d3b-d099c236116d" providerId="ADAL" clId="{980AF270-BCF9-4F8F-B3E8-879A80E43E88}" dt="2024-08-30T11:49:41.030" v="2122" actId="123"/>
          <ac:spMkLst>
            <pc:docMk/>
            <pc:sldMk cId="245881457" sldId="2147375597"/>
            <ac:spMk id="11" creationId="{DE9F1BE0-7910-FA1B-DCE8-56EFD1E4FC09}"/>
          </ac:spMkLst>
        </pc:spChg>
        <pc:spChg chg="mod">
          <ac:chgData name="Chakraborty, Rohita SBOBNG-PTIY/TCBC" userId="cf4991cc-9c30-4798-8d3b-d099c236116d" providerId="ADAL" clId="{980AF270-BCF9-4F8F-B3E8-879A80E43E88}" dt="2024-08-30T04:50:53.312" v="366" actId="20577"/>
          <ac:spMkLst>
            <pc:docMk/>
            <pc:sldMk cId="245881457" sldId="2147375597"/>
            <ac:spMk id="12" creationId="{E53E5C3F-4D2B-B85F-E592-E58E032C664C}"/>
          </ac:spMkLst>
        </pc:spChg>
        <pc:picChg chg="add mod">
          <ac:chgData name="Chakraborty, Rohita SBOBNG-PTIY/TCBC" userId="cf4991cc-9c30-4798-8d3b-d099c236116d" providerId="ADAL" clId="{980AF270-BCF9-4F8F-B3E8-879A80E43E88}" dt="2024-08-30T04:51:02.241" v="369" actId="1076"/>
          <ac:picMkLst>
            <pc:docMk/>
            <pc:sldMk cId="245881457" sldId="2147375597"/>
            <ac:picMk id="1026" creationId="{AD955203-77E0-CC58-D6D3-BC215C429EB7}"/>
          </ac:picMkLst>
        </pc:picChg>
      </pc:sldChg>
      <pc:sldChg chg="addSp modSp mod">
        <pc:chgData name="Chakraborty, Rohita SBOBNG-PTIY/TCBC" userId="cf4991cc-9c30-4798-8d3b-d099c236116d" providerId="ADAL" clId="{980AF270-BCF9-4F8F-B3E8-879A80E43E88}" dt="2024-08-30T11:49:48.465" v="2125" actId="123"/>
        <pc:sldMkLst>
          <pc:docMk/>
          <pc:sldMk cId="1181112711" sldId="2147375600"/>
        </pc:sldMkLst>
        <pc:spChg chg="mod">
          <ac:chgData name="Chakraborty, Rohita SBOBNG-PTIY/TCBC" userId="cf4991cc-9c30-4798-8d3b-d099c236116d" providerId="ADAL" clId="{980AF270-BCF9-4F8F-B3E8-879A80E43E88}" dt="2024-08-30T08:24:23.376" v="376" actId="20577"/>
          <ac:spMkLst>
            <pc:docMk/>
            <pc:sldMk cId="1181112711" sldId="2147375600"/>
            <ac:spMk id="3" creationId="{CEA128C4-A0BC-A895-713C-306E7FF62894}"/>
          </ac:spMkLst>
        </pc:spChg>
        <pc:spChg chg="mod">
          <ac:chgData name="Chakraborty, Rohita SBOBNG-PTIY/TCBC" userId="cf4991cc-9c30-4798-8d3b-d099c236116d" providerId="ADAL" clId="{980AF270-BCF9-4F8F-B3E8-879A80E43E88}" dt="2024-08-30T11:49:48.465" v="2125" actId="123"/>
          <ac:spMkLst>
            <pc:docMk/>
            <pc:sldMk cId="1181112711" sldId="2147375600"/>
            <ac:spMk id="11" creationId="{DE9F1BE0-7910-FA1B-DCE8-56EFD1E4FC09}"/>
          </ac:spMkLst>
        </pc:spChg>
        <pc:spChg chg="mod">
          <ac:chgData name="Chakraborty, Rohita SBOBNG-PTIY/TCBC" userId="cf4991cc-9c30-4798-8d3b-d099c236116d" providerId="ADAL" clId="{980AF270-BCF9-4F8F-B3E8-879A80E43E88}" dt="2024-08-30T08:57:33.756" v="720" actId="20577"/>
          <ac:spMkLst>
            <pc:docMk/>
            <pc:sldMk cId="1181112711" sldId="2147375600"/>
            <ac:spMk id="12" creationId="{E53E5C3F-4D2B-B85F-E592-E58E032C664C}"/>
          </ac:spMkLst>
        </pc:spChg>
        <pc:picChg chg="add mod">
          <ac:chgData name="Chakraborty, Rohita SBOBNG-PTIY/TCBC" userId="cf4991cc-9c30-4798-8d3b-d099c236116d" providerId="ADAL" clId="{980AF270-BCF9-4F8F-B3E8-879A80E43E88}" dt="2024-08-30T11:24:03.262" v="753" actId="1076"/>
          <ac:picMkLst>
            <pc:docMk/>
            <pc:sldMk cId="1181112711" sldId="2147375600"/>
            <ac:picMk id="1026" creationId="{FCE449E2-377F-A530-59EC-F68DC2E0DA92}"/>
          </ac:picMkLst>
        </pc:picChg>
        <pc:picChg chg="add mod">
          <ac:chgData name="Chakraborty, Rohita SBOBNG-PTIY/TCBC" userId="cf4991cc-9c30-4798-8d3b-d099c236116d" providerId="ADAL" clId="{980AF270-BCF9-4F8F-B3E8-879A80E43E88}" dt="2024-08-30T09:01:04.284" v="731" actId="14100"/>
          <ac:picMkLst>
            <pc:docMk/>
            <pc:sldMk cId="1181112711" sldId="2147375600"/>
            <ac:picMk id="1028" creationId="{9B2F4B36-E9F1-4AF5-143A-91284103B1D9}"/>
          </ac:picMkLst>
        </pc:picChg>
        <pc:picChg chg="add mod">
          <ac:chgData name="Chakraborty, Rohita SBOBNG-PTIY/TCBC" userId="cf4991cc-9c30-4798-8d3b-d099c236116d" providerId="ADAL" clId="{980AF270-BCF9-4F8F-B3E8-879A80E43E88}" dt="2024-08-30T09:52:46.984" v="746" actId="1076"/>
          <ac:picMkLst>
            <pc:docMk/>
            <pc:sldMk cId="1181112711" sldId="2147375600"/>
            <ac:picMk id="1030" creationId="{4DA9AC5C-3718-1268-4B83-9FCB1AEAFC9C}"/>
          </ac:picMkLst>
        </pc:picChg>
      </pc:sldChg>
      <pc:sldChg chg="addSp modSp mod">
        <pc:chgData name="Chakraborty, Rohita SBOBNG-PTIY/TCBC" userId="cf4991cc-9c30-4798-8d3b-d099c236116d" providerId="ADAL" clId="{980AF270-BCF9-4F8F-B3E8-879A80E43E88}" dt="2024-08-30T12:05:18.642" v="2976" actId="1076"/>
        <pc:sldMkLst>
          <pc:docMk/>
          <pc:sldMk cId="3233747587" sldId="2147375601"/>
        </pc:sldMkLst>
        <pc:spChg chg="mod">
          <ac:chgData name="Chakraborty, Rohita SBOBNG-PTIY/TCBC" userId="cf4991cc-9c30-4798-8d3b-d099c236116d" providerId="ADAL" clId="{980AF270-BCF9-4F8F-B3E8-879A80E43E88}" dt="2024-08-30T11:21:52.768" v="749" actId="20577"/>
          <ac:spMkLst>
            <pc:docMk/>
            <pc:sldMk cId="3233747587" sldId="2147375601"/>
            <ac:spMk id="3" creationId="{CEA128C4-A0BC-A895-713C-306E7FF62894}"/>
          </ac:spMkLst>
        </pc:spChg>
        <pc:spChg chg="mod">
          <ac:chgData name="Chakraborty, Rohita SBOBNG-PTIY/TCBC" userId="cf4991cc-9c30-4798-8d3b-d099c236116d" providerId="ADAL" clId="{980AF270-BCF9-4F8F-B3E8-879A80E43E88}" dt="2024-08-30T12:05:18.642" v="2976" actId="1076"/>
          <ac:spMkLst>
            <pc:docMk/>
            <pc:sldMk cId="3233747587" sldId="2147375601"/>
            <ac:spMk id="11" creationId="{DE9F1BE0-7910-FA1B-DCE8-56EFD1E4FC09}"/>
          </ac:spMkLst>
        </pc:spChg>
        <pc:spChg chg="mod">
          <ac:chgData name="Chakraborty, Rohita SBOBNG-PTIY/TCBC" userId="cf4991cc-9c30-4798-8d3b-d099c236116d" providerId="ADAL" clId="{980AF270-BCF9-4F8F-B3E8-879A80E43E88}" dt="2024-08-30T11:22:05.265" v="752" actId="20577"/>
          <ac:spMkLst>
            <pc:docMk/>
            <pc:sldMk cId="3233747587" sldId="2147375601"/>
            <ac:spMk id="12" creationId="{E53E5C3F-4D2B-B85F-E592-E58E032C664C}"/>
          </ac:spMkLst>
        </pc:spChg>
        <pc:picChg chg="add mod">
          <ac:chgData name="Chakraborty, Rohita SBOBNG-PTIY/TCBC" userId="cf4991cc-9c30-4798-8d3b-d099c236116d" providerId="ADAL" clId="{980AF270-BCF9-4F8F-B3E8-879A80E43E88}" dt="2024-08-30T11:28:17.727" v="1123" actId="14100"/>
          <ac:picMkLst>
            <pc:docMk/>
            <pc:sldMk cId="3233747587" sldId="2147375601"/>
            <ac:picMk id="1026" creationId="{021A8883-6202-CD97-CAEC-88B28AB5BF4E}"/>
          </ac:picMkLst>
        </pc:picChg>
        <pc:picChg chg="add mod">
          <ac:chgData name="Chakraborty, Rohita SBOBNG-PTIY/TCBC" userId="cf4991cc-9c30-4798-8d3b-d099c236116d" providerId="ADAL" clId="{980AF270-BCF9-4F8F-B3E8-879A80E43E88}" dt="2024-08-30T11:28:33.795" v="1128" actId="1076"/>
          <ac:picMkLst>
            <pc:docMk/>
            <pc:sldMk cId="3233747587" sldId="2147375601"/>
            <ac:picMk id="1028" creationId="{46F164C6-1535-149A-E896-301C8EC5F019}"/>
          </ac:picMkLst>
        </pc:picChg>
      </pc:sldChg>
      <pc:sldChg chg="addSp modSp mod">
        <pc:chgData name="Chakraborty, Rohita SBOBNG-PTIY/TCBC" userId="cf4991cc-9c30-4798-8d3b-d099c236116d" providerId="ADAL" clId="{980AF270-BCF9-4F8F-B3E8-879A80E43E88}" dt="2024-08-30T11:51:13.526" v="2137" actId="1076"/>
        <pc:sldMkLst>
          <pc:docMk/>
          <pc:sldMk cId="3971512377" sldId="2147375603"/>
        </pc:sldMkLst>
        <pc:spChg chg="mod">
          <ac:chgData name="Chakraborty, Rohita SBOBNG-PTIY/TCBC" userId="cf4991cc-9c30-4798-8d3b-d099c236116d" providerId="ADAL" clId="{980AF270-BCF9-4F8F-B3E8-879A80E43E88}" dt="2024-08-30T11:50:21.823" v="2131" actId="1076"/>
          <ac:spMkLst>
            <pc:docMk/>
            <pc:sldMk cId="3971512377" sldId="2147375603"/>
            <ac:spMk id="11" creationId="{DE9F1BE0-7910-FA1B-DCE8-56EFD1E4FC09}"/>
          </ac:spMkLst>
        </pc:spChg>
        <pc:spChg chg="mod">
          <ac:chgData name="Chakraborty, Rohita SBOBNG-PTIY/TCBC" userId="cf4991cc-9c30-4798-8d3b-d099c236116d" providerId="ADAL" clId="{980AF270-BCF9-4F8F-B3E8-879A80E43E88}" dt="2024-08-30T11:50:25.515" v="2132" actId="20577"/>
          <ac:spMkLst>
            <pc:docMk/>
            <pc:sldMk cId="3971512377" sldId="2147375603"/>
            <ac:spMk id="12" creationId="{E53E5C3F-4D2B-B85F-E592-E58E032C664C}"/>
          </ac:spMkLst>
        </pc:spChg>
        <pc:picChg chg="add mod">
          <ac:chgData name="Chakraborty, Rohita SBOBNG-PTIY/TCBC" userId="cf4991cc-9c30-4798-8d3b-d099c236116d" providerId="ADAL" clId="{980AF270-BCF9-4F8F-B3E8-879A80E43E88}" dt="2024-08-30T11:51:13.526" v="2137" actId="1076"/>
          <ac:picMkLst>
            <pc:docMk/>
            <pc:sldMk cId="3971512377" sldId="2147375603"/>
            <ac:picMk id="4098" creationId="{16C968F3-8199-64BA-FAE9-27B7EBB0922D}"/>
          </ac:picMkLst>
        </pc:picChg>
      </pc:sldChg>
      <pc:sldChg chg="addSp modSp mod">
        <pc:chgData name="Chakraborty, Rohita SBOBNG-PTIY/TCBC" userId="cf4991cc-9c30-4798-8d3b-d099c236116d" providerId="ADAL" clId="{980AF270-BCF9-4F8F-B3E8-879A80E43E88}" dt="2024-08-30T11:55:24.689" v="2505" actId="1076"/>
        <pc:sldMkLst>
          <pc:docMk/>
          <pc:sldMk cId="3179805674" sldId="2147375604"/>
        </pc:sldMkLst>
        <pc:spChg chg="mod">
          <ac:chgData name="Chakraborty, Rohita SBOBNG-PTIY/TCBC" userId="cf4991cc-9c30-4798-8d3b-d099c236116d" providerId="ADAL" clId="{980AF270-BCF9-4F8F-B3E8-879A80E43E88}" dt="2024-08-30T11:54:41.954" v="2500" actId="1076"/>
          <ac:spMkLst>
            <pc:docMk/>
            <pc:sldMk cId="3179805674" sldId="2147375604"/>
            <ac:spMk id="11" creationId="{DE9F1BE0-7910-FA1B-DCE8-56EFD1E4FC09}"/>
          </ac:spMkLst>
        </pc:spChg>
        <pc:spChg chg="mod">
          <ac:chgData name="Chakraborty, Rohita SBOBNG-PTIY/TCBC" userId="cf4991cc-9c30-4798-8d3b-d099c236116d" providerId="ADAL" clId="{980AF270-BCF9-4F8F-B3E8-879A80E43E88}" dt="2024-08-30T11:54:45.885" v="2501" actId="20577"/>
          <ac:spMkLst>
            <pc:docMk/>
            <pc:sldMk cId="3179805674" sldId="2147375604"/>
            <ac:spMk id="12" creationId="{E53E5C3F-4D2B-B85F-E592-E58E032C664C}"/>
          </ac:spMkLst>
        </pc:spChg>
        <pc:picChg chg="add mod">
          <ac:chgData name="Chakraborty, Rohita SBOBNG-PTIY/TCBC" userId="cf4991cc-9c30-4798-8d3b-d099c236116d" providerId="ADAL" clId="{980AF270-BCF9-4F8F-B3E8-879A80E43E88}" dt="2024-08-30T11:55:24.689" v="2505" actId="1076"/>
          <ac:picMkLst>
            <pc:docMk/>
            <pc:sldMk cId="3179805674" sldId="2147375604"/>
            <ac:picMk id="5122" creationId="{5F7E537B-ADFA-EF9C-058E-109BF0C8356C}"/>
          </ac:picMkLst>
        </pc:picChg>
      </pc:sldChg>
      <pc:sldChg chg="addSp modSp mod">
        <pc:chgData name="Chakraborty, Rohita SBOBNG-PTIY/TCBC" userId="cf4991cc-9c30-4798-8d3b-d099c236116d" providerId="ADAL" clId="{980AF270-BCF9-4F8F-B3E8-879A80E43E88}" dt="2024-08-30T12:02:44.596" v="2790" actId="1076"/>
        <pc:sldMkLst>
          <pc:docMk/>
          <pc:sldMk cId="86366928" sldId="2147375605"/>
        </pc:sldMkLst>
        <pc:spChg chg="mod">
          <ac:chgData name="Chakraborty, Rohita SBOBNG-PTIY/TCBC" userId="cf4991cc-9c30-4798-8d3b-d099c236116d" providerId="ADAL" clId="{980AF270-BCF9-4F8F-B3E8-879A80E43E88}" dt="2024-08-30T12:02:44.596" v="2790" actId="1076"/>
          <ac:spMkLst>
            <pc:docMk/>
            <pc:sldMk cId="86366928" sldId="2147375605"/>
            <ac:spMk id="11" creationId="{DE9F1BE0-7910-FA1B-DCE8-56EFD1E4FC09}"/>
          </ac:spMkLst>
        </pc:spChg>
        <pc:spChg chg="mod">
          <ac:chgData name="Chakraborty, Rohita SBOBNG-PTIY/TCBC" userId="cf4991cc-9c30-4798-8d3b-d099c236116d" providerId="ADAL" clId="{980AF270-BCF9-4F8F-B3E8-879A80E43E88}" dt="2024-08-30T12:01:56.226" v="2782" actId="20577"/>
          <ac:spMkLst>
            <pc:docMk/>
            <pc:sldMk cId="86366928" sldId="2147375605"/>
            <ac:spMk id="12" creationId="{E53E5C3F-4D2B-B85F-E592-E58E032C664C}"/>
          </ac:spMkLst>
        </pc:spChg>
        <pc:picChg chg="add mod">
          <ac:chgData name="Chakraborty, Rohita SBOBNG-PTIY/TCBC" userId="cf4991cc-9c30-4798-8d3b-d099c236116d" providerId="ADAL" clId="{980AF270-BCF9-4F8F-B3E8-879A80E43E88}" dt="2024-08-30T12:02:37.299" v="2788" actId="1076"/>
          <ac:picMkLst>
            <pc:docMk/>
            <pc:sldMk cId="86366928" sldId="2147375605"/>
            <ac:picMk id="6146" creationId="{A5587A81-9C91-1A43-B772-E9C4B5026452}"/>
          </ac:picMkLst>
        </pc:picChg>
      </pc:sldChg>
      <pc:sldChg chg="addSp delSp modSp mod">
        <pc:chgData name="Chakraborty, Rohita SBOBNG-PTIY/TCBC" userId="cf4991cc-9c30-4798-8d3b-d099c236116d" providerId="ADAL" clId="{980AF270-BCF9-4F8F-B3E8-879A80E43E88}" dt="2024-08-30T13:26:53.071" v="3310" actId="1076"/>
        <pc:sldMkLst>
          <pc:docMk/>
          <pc:sldMk cId="2340944189" sldId="2147375607"/>
        </pc:sldMkLst>
        <pc:spChg chg="add del mod">
          <ac:chgData name="Chakraborty, Rohita SBOBNG-PTIY/TCBC" userId="cf4991cc-9c30-4798-8d3b-d099c236116d" providerId="ADAL" clId="{980AF270-BCF9-4F8F-B3E8-879A80E43E88}" dt="2024-08-30T13:24:11.665" v="3304" actId="14100"/>
          <ac:spMkLst>
            <pc:docMk/>
            <pc:sldMk cId="2340944189" sldId="2147375607"/>
            <ac:spMk id="11" creationId="{DE9F1BE0-7910-FA1B-DCE8-56EFD1E4FC09}"/>
          </ac:spMkLst>
        </pc:spChg>
        <pc:spChg chg="mod">
          <ac:chgData name="Chakraborty, Rohita SBOBNG-PTIY/TCBC" userId="cf4991cc-9c30-4798-8d3b-d099c236116d" providerId="ADAL" clId="{980AF270-BCF9-4F8F-B3E8-879A80E43E88}" dt="2024-08-30T13:24:19.025" v="3307" actId="20577"/>
          <ac:spMkLst>
            <pc:docMk/>
            <pc:sldMk cId="2340944189" sldId="2147375607"/>
            <ac:spMk id="12" creationId="{E53E5C3F-4D2B-B85F-E592-E58E032C664C}"/>
          </ac:spMkLst>
        </pc:spChg>
        <pc:picChg chg="add mod">
          <ac:chgData name="Chakraborty, Rohita SBOBNG-PTIY/TCBC" userId="cf4991cc-9c30-4798-8d3b-d099c236116d" providerId="ADAL" clId="{980AF270-BCF9-4F8F-B3E8-879A80E43E88}" dt="2024-08-30T13:26:53.071" v="3310" actId="1076"/>
          <ac:picMkLst>
            <pc:docMk/>
            <pc:sldMk cId="2340944189" sldId="2147375607"/>
            <ac:picMk id="1026" creationId="{03CFD425-04DA-E5A1-127B-729F80E3C8A7}"/>
          </ac:picMkLst>
        </pc:picChg>
      </pc:sldChg>
      <pc:sldChg chg="addSp modSp mod">
        <pc:chgData name="Chakraborty, Rohita SBOBNG-PTIY/TCBC" userId="cf4991cc-9c30-4798-8d3b-d099c236116d" providerId="ADAL" clId="{980AF270-BCF9-4F8F-B3E8-879A80E43E88}" dt="2024-08-30T13:34:21.452" v="3693" actId="1076"/>
        <pc:sldMkLst>
          <pc:docMk/>
          <pc:sldMk cId="3159148252" sldId="2147375608"/>
        </pc:sldMkLst>
        <pc:spChg chg="mod">
          <ac:chgData name="Chakraborty, Rohita SBOBNG-PTIY/TCBC" userId="cf4991cc-9c30-4798-8d3b-d099c236116d" providerId="ADAL" clId="{980AF270-BCF9-4F8F-B3E8-879A80E43E88}" dt="2024-08-30T13:29:18.303" v="3687" actId="123"/>
          <ac:spMkLst>
            <pc:docMk/>
            <pc:sldMk cId="3159148252" sldId="2147375608"/>
            <ac:spMk id="11" creationId="{DE9F1BE0-7910-FA1B-DCE8-56EFD1E4FC09}"/>
          </ac:spMkLst>
        </pc:spChg>
        <pc:spChg chg="mod">
          <ac:chgData name="Chakraborty, Rohita SBOBNG-PTIY/TCBC" userId="cf4991cc-9c30-4798-8d3b-d099c236116d" providerId="ADAL" clId="{980AF270-BCF9-4F8F-B3E8-879A80E43E88}" dt="2024-08-30T13:29:21.725" v="3688" actId="20577"/>
          <ac:spMkLst>
            <pc:docMk/>
            <pc:sldMk cId="3159148252" sldId="2147375608"/>
            <ac:spMk id="12" creationId="{E53E5C3F-4D2B-B85F-E592-E58E032C664C}"/>
          </ac:spMkLst>
        </pc:spChg>
        <pc:picChg chg="add mod">
          <ac:chgData name="Chakraborty, Rohita SBOBNG-PTIY/TCBC" userId="cf4991cc-9c30-4798-8d3b-d099c236116d" providerId="ADAL" clId="{980AF270-BCF9-4F8F-B3E8-879A80E43E88}" dt="2024-08-30T13:34:21.452" v="3693" actId="1076"/>
          <ac:picMkLst>
            <pc:docMk/>
            <pc:sldMk cId="3159148252" sldId="2147375608"/>
            <ac:picMk id="2050" creationId="{F17C45BE-B37F-1B96-A3EB-906A224BE07C}"/>
          </ac:picMkLst>
        </pc:picChg>
      </pc:sldChg>
      <pc:sldChg chg="addSp modSp mod">
        <pc:chgData name="Chakraborty, Rohita SBOBNG-PTIY/TCBC" userId="cf4991cc-9c30-4798-8d3b-d099c236116d" providerId="ADAL" clId="{980AF270-BCF9-4F8F-B3E8-879A80E43E88}" dt="2024-08-30T13:41:31.775" v="3960" actId="1076"/>
        <pc:sldMkLst>
          <pc:docMk/>
          <pc:sldMk cId="3070204084" sldId="2147375609"/>
        </pc:sldMkLst>
        <pc:spChg chg="mod">
          <ac:chgData name="Chakraborty, Rohita SBOBNG-PTIY/TCBC" userId="cf4991cc-9c30-4798-8d3b-d099c236116d" providerId="ADAL" clId="{980AF270-BCF9-4F8F-B3E8-879A80E43E88}" dt="2024-08-30T13:38:11.672" v="3953" actId="123"/>
          <ac:spMkLst>
            <pc:docMk/>
            <pc:sldMk cId="3070204084" sldId="2147375609"/>
            <ac:spMk id="11" creationId="{DE9F1BE0-7910-FA1B-DCE8-56EFD1E4FC09}"/>
          </ac:spMkLst>
        </pc:spChg>
        <pc:spChg chg="mod">
          <ac:chgData name="Chakraborty, Rohita SBOBNG-PTIY/TCBC" userId="cf4991cc-9c30-4798-8d3b-d099c236116d" providerId="ADAL" clId="{980AF270-BCF9-4F8F-B3E8-879A80E43E88}" dt="2024-08-30T13:38:15.451" v="3954" actId="20577"/>
          <ac:spMkLst>
            <pc:docMk/>
            <pc:sldMk cId="3070204084" sldId="2147375609"/>
            <ac:spMk id="12" creationId="{E53E5C3F-4D2B-B85F-E592-E58E032C664C}"/>
          </ac:spMkLst>
        </pc:spChg>
        <pc:picChg chg="add mod">
          <ac:chgData name="Chakraborty, Rohita SBOBNG-PTIY/TCBC" userId="cf4991cc-9c30-4798-8d3b-d099c236116d" providerId="ADAL" clId="{980AF270-BCF9-4F8F-B3E8-879A80E43E88}" dt="2024-08-30T13:41:31.775" v="3960" actId="1076"/>
          <ac:picMkLst>
            <pc:docMk/>
            <pc:sldMk cId="3070204084" sldId="2147375609"/>
            <ac:picMk id="6" creationId="{1E9E9270-D2F4-9964-27C7-C186BF6FC706}"/>
          </ac:picMkLst>
        </pc:picChg>
      </pc:sldChg>
      <pc:sldChg chg="modSp mod">
        <pc:chgData name="Chakraborty, Rohita SBOBNG-PTIY/TCBC" userId="cf4991cc-9c30-4798-8d3b-d099c236116d" providerId="ADAL" clId="{980AF270-BCF9-4F8F-B3E8-879A80E43E88}" dt="2024-08-30T14:37:49.726" v="4373" actId="123"/>
        <pc:sldMkLst>
          <pc:docMk/>
          <pc:sldMk cId="3754613224" sldId="2147375611"/>
        </pc:sldMkLst>
        <pc:spChg chg="mod">
          <ac:chgData name="Chakraborty, Rohita SBOBNG-PTIY/TCBC" userId="cf4991cc-9c30-4798-8d3b-d099c236116d" providerId="ADAL" clId="{980AF270-BCF9-4F8F-B3E8-879A80E43E88}" dt="2024-08-30T14:34:03.187" v="4124" actId="20577"/>
          <ac:spMkLst>
            <pc:docMk/>
            <pc:sldMk cId="3754613224" sldId="2147375611"/>
            <ac:spMk id="18" creationId="{6C73795A-BE20-7075-E9C6-6F145CE60794}"/>
          </ac:spMkLst>
        </pc:spChg>
        <pc:spChg chg="mod">
          <ac:chgData name="Chakraborty, Rohita SBOBNG-PTIY/TCBC" userId="cf4991cc-9c30-4798-8d3b-d099c236116d" providerId="ADAL" clId="{980AF270-BCF9-4F8F-B3E8-879A80E43E88}" dt="2024-08-30T14:35:03.681" v="4247" actId="33524"/>
          <ac:spMkLst>
            <pc:docMk/>
            <pc:sldMk cId="3754613224" sldId="2147375611"/>
            <ac:spMk id="19" creationId="{A3E2F4D1-4417-E244-3DB9-A6FF5866A342}"/>
          </ac:spMkLst>
        </pc:spChg>
        <pc:spChg chg="mod">
          <ac:chgData name="Chakraborty, Rohita SBOBNG-PTIY/TCBC" userId="cf4991cc-9c30-4798-8d3b-d099c236116d" providerId="ADAL" clId="{980AF270-BCF9-4F8F-B3E8-879A80E43E88}" dt="2024-08-30T14:37:49.726" v="4373" actId="123"/>
          <ac:spMkLst>
            <pc:docMk/>
            <pc:sldMk cId="3754613224" sldId="2147375611"/>
            <ac:spMk id="20" creationId="{3EBEB0AC-D407-44FD-A74F-90F67F3D13C3}"/>
          </ac:spMkLst>
        </pc:spChg>
      </pc:sldChg>
      <pc:sldChg chg="addSp modSp mod">
        <pc:chgData name="Chakraborty, Rohita SBOBNG-PTIY/TCBC" userId="cf4991cc-9c30-4798-8d3b-d099c236116d" providerId="ADAL" clId="{980AF270-BCF9-4F8F-B3E8-879A80E43E88}" dt="2024-08-30T14:41:40.812" v="4530" actId="1076"/>
        <pc:sldMkLst>
          <pc:docMk/>
          <pc:sldMk cId="1148838763" sldId="2147375613"/>
        </pc:sldMkLst>
        <pc:spChg chg="mod">
          <ac:chgData name="Chakraborty, Rohita SBOBNG-PTIY/TCBC" userId="cf4991cc-9c30-4798-8d3b-d099c236116d" providerId="ADAL" clId="{980AF270-BCF9-4F8F-B3E8-879A80E43E88}" dt="2024-08-30T14:38:59.533" v="4524" actId="123"/>
          <ac:spMkLst>
            <pc:docMk/>
            <pc:sldMk cId="1148838763" sldId="2147375613"/>
            <ac:spMk id="11" creationId="{8CC1343B-2E39-FEFF-8FF6-46822F18B432}"/>
          </ac:spMkLst>
        </pc:spChg>
        <pc:spChg chg="mod">
          <ac:chgData name="Chakraborty, Rohita SBOBNG-PTIY/TCBC" userId="cf4991cc-9c30-4798-8d3b-d099c236116d" providerId="ADAL" clId="{980AF270-BCF9-4F8F-B3E8-879A80E43E88}" dt="2024-08-30T14:39:03.072" v="4525" actId="20577"/>
          <ac:spMkLst>
            <pc:docMk/>
            <pc:sldMk cId="1148838763" sldId="2147375613"/>
            <ac:spMk id="12" creationId="{5A873A1A-E63F-91AE-7D43-ED0F86870147}"/>
          </ac:spMkLst>
        </pc:spChg>
        <pc:picChg chg="add mod">
          <ac:chgData name="Chakraborty, Rohita SBOBNG-PTIY/TCBC" userId="cf4991cc-9c30-4798-8d3b-d099c236116d" providerId="ADAL" clId="{980AF270-BCF9-4F8F-B3E8-879A80E43E88}" dt="2024-08-30T14:41:40.812" v="4530" actId="1076"/>
          <ac:picMkLst>
            <pc:docMk/>
            <pc:sldMk cId="1148838763" sldId="2147375613"/>
            <ac:picMk id="6" creationId="{3F5EC3B1-60A8-BB2B-91C8-4D5353926598}"/>
          </ac:picMkLst>
        </pc:picChg>
      </pc:sldChg>
      <pc:sldChg chg="modSp mod">
        <pc:chgData name="Chakraborty, Rohita SBOBNG-PTIY/TCBC" userId="cf4991cc-9c30-4798-8d3b-d099c236116d" providerId="ADAL" clId="{980AF270-BCF9-4F8F-B3E8-879A80E43E88}" dt="2024-08-30T14:48:36.129" v="4677"/>
        <pc:sldMkLst>
          <pc:docMk/>
          <pc:sldMk cId="3865850111" sldId="2147375614"/>
        </pc:sldMkLst>
        <pc:spChg chg="mod">
          <ac:chgData name="Chakraborty, Rohita SBOBNG-PTIY/TCBC" userId="cf4991cc-9c30-4798-8d3b-d099c236116d" providerId="ADAL" clId="{980AF270-BCF9-4F8F-B3E8-879A80E43E88}" dt="2024-08-30T14:48:36.129" v="4677"/>
          <ac:spMkLst>
            <pc:docMk/>
            <pc:sldMk cId="3865850111" sldId="2147375614"/>
            <ac:spMk id="6" creationId="{AC2F88D2-81D4-FAD4-568E-A3F495B06411}"/>
          </ac:spMkLst>
        </pc:spChg>
      </pc:sldChg>
      <pc:sldChg chg="addSp delSp modSp add mod">
        <pc:chgData name="Chakraborty, Rohita SBOBNG-PTIY/TCBC" userId="cf4991cc-9c30-4798-8d3b-d099c236116d" providerId="ADAL" clId="{980AF270-BCF9-4F8F-B3E8-879A80E43E88}" dt="2024-08-30T11:50:00.934" v="2127" actId="123"/>
        <pc:sldMkLst>
          <pc:docMk/>
          <pc:sldMk cId="4022931816" sldId="2147375615"/>
        </pc:sldMkLst>
        <pc:spChg chg="mod">
          <ac:chgData name="Chakraborty, Rohita SBOBNG-PTIY/TCBC" userId="cf4991cc-9c30-4798-8d3b-d099c236116d" providerId="ADAL" clId="{980AF270-BCF9-4F8F-B3E8-879A80E43E88}" dt="2024-08-30T11:29:08.956" v="1131" actId="20577"/>
          <ac:spMkLst>
            <pc:docMk/>
            <pc:sldMk cId="4022931816" sldId="2147375615"/>
            <ac:spMk id="3" creationId="{CEA128C4-A0BC-A895-713C-306E7FF62894}"/>
          </ac:spMkLst>
        </pc:spChg>
        <pc:spChg chg="mod">
          <ac:chgData name="Chakraborty, Rohita SBOBNG-PTIY/TCBC" userId="cf4991cc-9c30-4798-8d3b-d099c236116d" providerId="ADAL" clId="{980AF270-BCF9-4F8F-B3E8-879A80E43E88}" dt="2024-08-30T11:50:00.934" v="2127" actId="123"/>
          <ac:spMkLst>
            <pc:docMk/>
            <pc:sldMk cId="4022931816" sldId="2147375615"/>
            <ac:spMk id="11" creationId="{DE9F1BE0-7910-FA1B-DCE8-56EFD1E4FC09}"/>
          </ac:spMkLst>
        </pc:spChg>
        <pc:picChg chg="del">
          <ac:chgData name="Chakraborty, Rohita SBOBNG-PTIY/TCBC" userId="cf4991cc-9c30-4798-8d3b-d099c236116d" providerId="ADAL" clId="{980AF270-BCF9-4F8F-B3E8-879A80E43E88}" dt="2024-08-30T11:29:11.197" v="1132" actId="478"/>
          <ac:picMkLst>
            <pc:docMk/>
            <pc:sldMk cId="4022931816" sldId="2147375615"/>
            <ac:picMk id="1028" creationId="{46F164C6-1535-149A-E896-301C8EC5F019}"/>
          </ac:picMkLst>
        </pc:picChg>
        <pc:picChg chg="add mod">
          <ac:chgData name="Chakraborty, Rohita SBOBNG-PTIY/TCBC" userId="cf4991cc-9c30-4798-8d3b-d099c236116d" providerId="ADAL" clId="{980AF270-BCF9-4F8F-B3E8-879A80E43E88}" dt="2024-08-30T11:37:44.264" v="1502" actId="1076"/>
          <ac:picMkLst>
            <pc:docMk/>
            <pc:sldMk cId="4022931816" sldId="2147375615"/>
            <ac:picMk id="2050" creationId="{FE326CD4-898D-D324-BE26-92B2CE8D2042}"/>
          </ac:picMkLst>
        </pc:picChg>
      </pc:sldChg>
      <pc:sldChg chg="addSp delSp modSp add mod">
        <pc:chgData name="Chakraborty, Rohita SBOBNG-PTIY/TCBC" userId="cf4991cc-9c30-4798-8d3b-d099c236116d" providerId="ADAL" clId="{980AF270-BCF9-4F8F-B3E8-879A80E43E88}" dt="2024-08-30T11:50:06.468" v="2128" actId="123"/>
        <pc:sldMkLst>
          <pc:docMk/>
          <pc:sldMk cId="2345638561" sldId="2147375616"/>
        </pc:sldMkLst>
        <pc:spChg chg="mod">
          <ac:chgData name="Chakraborty, Rohita SBOBNG-PTIY/TCBC" userId="cf4991cc-9c30-4798-8d3b-d099c236116d" providerId="ADAL" clId="{980AF270-BCF9-4F8F-B3E8-879A80E43E88}" dt="2024-08-30T11:37:57.183" v="1505" actId="20577"/>
          <ac:spMkLst>
            <pc:docMk/>
            <pc:sldMk cId="2345638561" sldId="2147375616"/>
            <ac:spMk id="3" creationId="{CEA128C4-A0BC-A895-713C-306E7FF62894}"/>
          </ac:spMkLst>
        </pc:spChg>
        <pc:spChg chg="mod">
          <ac:chgData name="Chakraborty, Rohita SBOBNG-PTIY/TCBC" userId="cf4991cc-9c30-4798-8d3b-d099c236116d" providerId="ADAL" clId="{980AF270-BCF9-4F8F-B3E8-879A80E43E88}" dt="2024-08-30T11:50:06.468" v="2128" actId="123"/>
          <ac:spMkLst>
            <pc:docMk/>
            <pc:sldMk cId="2345638561" sldId="2147375616"/>
            <ac:spMk id="11" creationId="{DE9F1BE0-7910-FA1B-DCE8-56EFD1E4FC09}"/>
          </ac:spMkLst>
        </pc:spChg>
        <pc:picChg chg="del">
          <ac:chgData name="Chakraborty, Rohita SBOBNG-PTIY/TCBC" userId="cf4991cc-9c30-4798-8d3b-d099c236116d" providerId="ADAL" clId="{980AF270-BCF9-4F8F-B3E8-879A80E43E88}" dt="2024-08-30T11:38:18.442" v="1507" actId="478"/>
          <ac:picMkLst>
            <pc:docMk/>
            <pc:sldMk cId="2345638561" sldId="2147375616"/>
            <ac:picMk id="2050" creationId="{FE326CD4-898D-D324-BE26-92B2CE8D2042}"/>
          </ac:picMkLst>
        </pc:picChg>
        <pc:picChg chg="add mod">
          <ac:chgData name="Chakraborty, Rohita SBOBNG-PTIY/TCBC" userId="cf4991cc-9c30-4798-8d3b-d099c236116d" providerId="ADAL" clId="{980AF270-BCF9-4F8F-B3E8-879A80E43E88}" dt="2024-08-30T11:42:25.444" v="1767" actId="1076"/>
          <ac:picMkLst>
            <pc:docMk/>
            <pc:sldMk cId="2345638561" sldId="2147375616"/>
            <ac:picMk id="3074" creationId="{5A34934A-11C7-0341-C856-CCB8CFD2149B}"/>
          </ac:picMkLst>
        </pc:pic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AEFE5A76-C01F-4BC9-88F3-398B036E3DED}"/>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6978A5B3-1817-426C-9FE1-7C805AB7B56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C665F293-8627-45D3-8E1A-F6ADA80B8E24}" type="datetimeFigureOut">
              <a:rPr lang="en-US" smtClean="0"/>
              <a:t>8/30/2024</a:t>
            </a:fld>
            <a:endParaRPr lang="en-US"/>
          </a:p>
        </p:txBody>
      </p:sp>
      <p:sp>
        <p:nvSpPr>
          <p:cNvPr id="4" name="Footer Placeholder 3">
            <a:extLst>
              <a:ext uri="{FF2B5EF4-FFF2-40B4-BE49-F238E27FC236}">
                <a16:creationId xmlns:a16="http://schemas.microsoft.com/office/drawing/2014/main" id="{3A430698-86D0-4ED7-BA12-B188B70018AE}"/>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1F18B094-49A8-4C1A-89B2-A2DD3D782F35}"/>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49E9A553-0509-4CFD-AE32-30968D1E42ED}" type="slidenum">
              <a:rPr lang="en-US" smtClean="0"/>
              <a:t>‹#›</a:t>
            </a:fld>
            <a:endParaRPr lang="en-US"/>
          </a:p>
        </p:txBody>
      </p:sp>
    </p:spTree>
    <p:extLst>
      <p:ext uri="{BB962C8B-B14F-4D97-AF65-F5344CB8AC3E}">
        <p14:creationId xmlns:p14="http://schemas.microsoft.com/office/powerpoint/2010/main" val="352055794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fr-FR"/>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0509F1D-83B7-43AF-A495-3D2B1AB5AEA1}" type="datetimeFigureOut">
              <a:rPr lang="fr-FR" smtClean="0"/>
              <a:t>30/08/2024</a:t>
            </a:fld>
            <a:endParaRPr lang="fr-FR"/>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fr-FR"/>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fr-FR"/>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7E40836-DCE2-43E5-BC89-B27048B0D18C}" type="slidenum">
              <a:rPr lang="fr-FR" smtClean="0"/>
              <a:t>‹#›</a:t>
            </a:fld>
            <a:endParaRPr lang="fr-FR"/>
          </a:p>
        </p:txBody>
      </p:sp>
    </p:spTree>
    <p:extLst>
      <p:ext uri="{BB962C8B-B14F-4D97-AF65-F5344CB8AC3E}">
        <p14:creationId xmlns:p14="http://schemas.microsoft.com/office/powerpoint/2010/main" val="8194703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 Id="rId6" Type="http://schemas.openxmlformats.org/officeDocument/2006/relationships/image" Target="../media/image6.svg"/><Relationship Id="rId5" Type="http://schemas.openxmlformats.org/officeDocument/2006/relationships/image" Target="../media/image5.png"/><Relationship Id="rId4" Type="http://schemas.openxmlformats.org/officeDocument/2006/relationships/image" Target="../media/image4.sv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1.xml"/><Relationship Id="rId5" Type="http://schemas.openxmlformats.org/officeDocument/2006/relationships/image" Target="../media/image6.svg"/><Relationship Id="rId4" Type="http://schemas.openxmlformats.org/officeDocument/2006/relationships/image" Target="../media/image5.pn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9.xml.rels><?xml version="1.0" encoding="UTF-8" standalone="yes"?>
<Relationships xmlns="http://schemas.openxmlformats.org/package/2006/relationships"><Relationship Id="rId8" Type="http://schemas.openxmlformats.org/officeDocument/2006/relationships/image" Target="../media/image15.svg"/><Relationship Id="rId13" Type="http://schemas.openxmlformats.org/officeDocument/2006/relationships/image" Target="../media/image5.png"/><Relationship Id="rId3" Type="http://schemas.openxmlformats.org/officeDocument/2006/relationships/image" Target="../media/image10.png"/><Relationship Id="rId7" Type="http://schemas.openxmlformats.org/officeDocument/2006/relationships/image" Target="../media/image14.png"/><Relationship Id="rId12" Type="http://schemas.openxmlformats.org/officeDocument/2006/relationships/image" Target="../media/image19.svg"/><Relationship Id="rId2" Type="http://schemas.openxmlformats.org/officeDocument/2006/relationships/image" Target="../media/image7.png"/><Relationship Id="rId1" Type="http://schemas.openxmlformats.org/officeDocument/2006/relationships/slideMaster" Target="../slideMasters/slideMaster1.xml"/><Relationship Id="rId6" Type="http://schemas.openxmlformats.org/officeDocument/2006/relationships/image" Target="../media/image13.svg"/><Relationship Id="rId11" Type="http://schemas.openxmlformats.org/officeDocument/2006/relationships/image" Target="../media/image18.png"/><Relationship Id="rId5" Type="http://schemas.openxmlformats.org/officeDocument/2006/relationships/image" Target="../media/image12.png"/><Relationship Id="rId10" Type="http://schemas.openxmlformats.org/officeDocument/2006/relationships/image" Target="../media/image17.svg"/><Relationship Id="rId4" Type="http://schemas.openxmlformats.org/officeDocument/2006/relationships/image" Target="../media/image11.svg"/><Relationship Id="rId9" Type="http://schemas.openxmlformats.org/officeDocument/2006/relationships/image" Target="../media/image16.png"/><Relationship Id="rId14" Type="http://schemas.openxmlformats.org/officeDocument/2006/relationships/image" Target="../media/image6.sv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10F0E9A1-B6DE-4168-B5A1-8DD9A175CDC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4322" cy="6858000"/>
          </a:xfrm>
          <a:prstGeom prst="rect">
            <a:avLst/>
          </a:prstGeom>
        </p:spPr>
      </p:pic>
      <p:sp>
        <p:nvSpPr>
          <p:cNvPr id="3" name="Subtitle 2">
            <a:extLst>
              <a:ext uri="{FF2B5EF4-FFF2-40B4-BE49-F238E27FC236}">
                <a16:creationId xmlns:a16="http://schemas.microsoft.com/office/drawing/2014/main" id="{F424BBA8-8B40-48D2-944C-09BAE91D374F}"/>
              </a:ext>
            </a:extLst>
          </p:cNvPr>
          <p:cNvSpPr>
            <a:spLocks noGrp="1"/>
          </p:cNvSpPr>
          <p:nvPr>
            <p:ph type="subTitle" idx="1" hasCustomPrompt="1"/>
          </p:nvPr>
        </p:nvSpPr>
        <p:spPr>
          <a:xfrm>
            <a:off x="532334" y="4544698"/>
            <a:ext cx="6259003" cy="1655762"/>
          </a:xfrm>
          <a:prstGeom prst="rect">
            <a:avLst/>
          </a:prstGeom>
        </p:spPr>
        <p:txBody>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4" name="Date Placeholder 3">
            <a:extLst>
              <a:ext uri="{FF2B5EF4-FFF2-40B4-BE49-F238E27FC236}">
                <a16:creationId xmlns:a16="http://schemas.microsoft.com/office/drawing/2014/main" id="{851B38EA-93F4-4AE2-A67B-F3B4600DBC36}"/>
              </a:ext>
            </a:extLst>
          </p:cNvPr>
          <p:cNvSpPr>
            <a:spLocks noGrp="1"/>
          </p:cNvSpPr>
          <p:nvPr>
            <p:ph type="dt" sz="half" idx="10"/>
          </p:nvPr>
        </p:nvSpPr>
        <p:spPr>
          <a:xfrm>
            <a:off x="556639" y="6356350"/>
            <a:ext cx="2743200" cy="365125"/>
          </a:xfrm>
          <a:prstGeom prst="rect">
            <a:avLst/>
          </a:prstGeom>
        </p:spPr>
        <p:txBody>
          <a:bodyPr/>
          <a:lstStyle>
            <a:lvl1pPr>
              <a:defRPr>
                <a:solidFill>
                  <a:schemeClr val="bg1"/>
                </a:solidFill>
              </a:defRPr>
            </a:lvl1pPr>
          </a:lstStyle>
          <a:p>
            <a:endParaRPr lang="en-US" dirty="0"/>
          </a:p>
        </p:txBody>
      </p:sp>
      <p:sp>
        <p:nvSpPr>
          <p:cNvPr id="24" name="Text Placeholder 22">
            <a:extLst>
              <a:ext uri="{FF2B5EF4-FFF2-40B4-BE49-F238E27FC236}">
                <a16:creationId xmlns:a16="http://schemas.microsoft.com/office/drawing/2014/main" id="{2C65561A-2CFC-4A8B-9C60-BCE32A0B5358}"/>
              </a:ext>
            </a:extLst>
          </p:cNvPr>
          <p:cNvSpPr>
            <a:spLocks noGrp="1"/>
          </p:cNvSpPr>
          <p:nvPr>
            <p:ph type="body" sz="quarter" idx="12" hasCustomPrompt="1"/>
          </p:nvPr>
        </p:nvSpPr>
        <p:spPr>
          <a:xfrm>
            <a:off x="539615" y="3716073"/>
            <a:ext cx="10525125" cy="1201738"/>
          </a:xfrm>
          <a:prstGeom prst="rect">
            <a:avLst/>
          </a:prstGeom>
        </p:spPr>
        <p:txBody>
          <a:bodyPr/>
          <a:lstStyle>
            <a:lvl1pPr marL="0" indent="0">
              <a:buFontTx/>
              <a:buNone/>
              <a:defRPr sz="4400" b="1">
                <a:solidFill>
                  <a:schemeClr val="bg1"/>
                </a:solidFill>
                <a:latin typeface="Arial" panose="020B0604020202020204" pitchFamily="34" charset="0"/>
                <a:cs typeface="Arial" panose="020B0604020202020204" pitchFamily="34" charset="0"/>
              </a:defRPr>
            </a:lvl1pPr>
            <a:lvl2pPr marL="457200" indent="0">
              <a:buFontTx/>
              <a:buNone/>
              <a:defRPr sz="4400">
                <a:latin typeface="Arial" panose="020B0604020202020204" pitchFamily="34" charset="0"/>
                <a:cs typeface="Arial" panose="020B0604020202020204" pitchFamily="34" charset="0"/>
              </a:defRPr>
            </a:lvl2pPr>
            <a:lvl3pPr marL="914400" indent="0">
              <a:buFontTx/>
              <a:buNone/>
              <a:defRPr sz="4400">
                <a:latin typeface="Arial" panose="020B0604020202020204" pitchFamily="34" charset="0"/>
                <a:cs typeface="Arial" panose="020B0604020202020204" pitchFamily="34" charset="0"/>
              </a:defRPr>
            </a:lvl3pPr>
            <a:lvl4pPr marL="1371600" indent="0">
              <a:buFontTx/>
              <a:buNone/>
              <a:defRPr sz="4400">
                <a:latin typeface="Arial" panose="020B0604020202020204" pitchFamily="34" charset="0"/>
                <a:cs typeface="Arial" panose="020B0604020202020204" pitchFamily="34" charset="0"/>
              </a:defRPr>
            </a:lvl4pPr>
            <a:lvl5pPr marL="1828800" indent="0">
              <a:buFontTx/>
              <a:buNone/>
              <a:defRPr sz="4400">
                <a:latin typeface="Arial" panose="020B0604020202020204" pitchFamily="34" charset="0"/>
                <a:cs typeface="Arial" panose="020B0604020202020204" pitchFamily="34" charset="0"/>
              </a:defRPr>
            </a:lvl5pPr>
          </a:lstStyle>
          <a:p>
            <a:pPr lvl="0"/>
            <a:r>
              <a:rPr lang="en-US" dirty="0"/>
              <a:t>Click To Edit Master Text Styles</a:t>
            </a:r>
          </a:p>
        </p:txBody>
      </p:sp>
      <p:grpSp>
        <p:nvGrpSpPr>
          <p:cNvPr id="7" name="Group 6">
            <a:extLst>
              <a:ext uri="{FF2B5EF4-FFF2-40B4-BE49-F238E27FC236}">
                <a16:creationId xmlns:a16="http://schemas.microsoft.com/office/drawing/2014/main" id="{C45ED35D-2033-4D06-A960-F501039EB620}"/>
              </a:ext>
            </a:extLst>
          </p:cNvPr>
          <p:cNvGrpSpPr/>
          <p:nvPr userDrawn="1"/>
        </p:nvGrpSpPr>
        <p:grpSpPr>
          <a:xfrm>
            <a:off x="667246" y="786655"/>
            <a:ext cx="1903700" cy="594469"/>
            <a:chOff x="-1341375" y="2360931"/>
            <a:chExt cx="1059076" cy="330718"/>
          </a:xfrm>
        </p:grpSpPr>
        <p:pic>
          <p:nvPicPr>
            <p:cNvPr id="8" name="Graphic 7">
              <a:extLst>
                <a:ext uri="{FF2B5EF4-FFF2-40B4-BE49-F238E27FC236}">
                  <a16:creationId xmlns:a16="http://schemas.microsoft.com/office/drawing/2014/main" id="{BC09FDE2-AE7C-485C-ADFC-AC10B7828CC4}"/>
                </a:ext>
              </a:extLst>
            </p:cNvPr>
            <p:cNvPicPr>
              <a:picLocks noChangeAspect="1"/>
            </p:cNvPicPr>
            <p:nvPr/>
          </p:nvPicPr>
          <p:blipFill rotWithShape="1">
            <a:blip r:embed="rId3">
              <a:extLst>
                <a:ext uri="{96DAC541-7B7A-43D3-8B79-37D633B846F1}">
                  <asvg:svgBlip xmlns:asvg="http://schemas.microsoft.com/office/drawing/2016/SVG/main" r:embed="rId4"/>
                </a:ext>
              </a:extLst>
            </a:blip>
            <a:srcRect l="21960"/>
            <a:stretch/>
          </p:blipFill>
          <p:spPr>
            <a:xfrm>
              <a:off x="-1108801" y="2360931"/>
              <a:ext cx="826502" cy="330718"/>
            </a:xfrm>
            <a:prstGeom prst="rect">
              <a:avLst/>
            </a:prstGeom>
          </p:spPr>
        </p:pic>
        <p:pic>
          <p:nvPicPr>
            <p:cNvPr id="10" name="Graphic 9">
              <a:extLst>
                <a:ext uri="{FF2B5EF4-FFF2-40B4-BE49-F238E27FC236}">
                  <a16:creationId xmlns:a16="http://schemas.microsoft.com/office/drawing/2014/main" id="{CC0F8E41-253E-41DF-8E38-8F20042CF502}"/>
                </a:ext>
              </a:extLst>
            </p:cNvPr>
            <p:cNvPicPr>
              <a:picLocks noChangeAspect="1"/>
            </p:cNvPicPr>
            <p:nvPr/>
          </p:nvPicPr>
          <p:blipFill rotWithShape="1">
            <a:blip r:embed="rId5">
              <a:extLst>
                <a:ext uri="{96DAC541-7B7A-43D3-8B79-37D633B846F1}">
                  <asvg:svgBlip xmlns:asvg="http://schemas.microsoft.com/office/drawing/2016/SVG/main" r:embed="rId6"/>
                </a:ext>
              </a:extLst>
            </a:blip>
            <a:srcRect r="78849"/>
            <a:stretch/>
          </p:blipFill>
          <p:spPr>
            <a:xfrm>
              <a:off x="-1341375" y="2360931"/>
              <a:ext cx="224001" cy="330718"/>
            </a:xfrm>
            <a:prstGeom prst="rect">
              <a:avLst/>
            </a:prstGeom>
          </p:spPr>
        </p:pic>
      </p:grpSp>
    </p:spTree>
    <p:extLst>
      <p:ext uri="{BB962C8B-B14F-4D97-AF65-F5344CB8AC3E}">
        <p14:creationId xmlns:p14="http://schemas.microsoft.com/office/powerpoint/2010/main" val="5252566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Content+Video (2 column)">
    <p:spTree>
      <p:nvGrpSpPr>
        <p:cNvPr id="1" name=""/>
        <p:cNvGrpSpPr/>
        <p:nvPr/>
      </p:nvGrpSpPr>
      <p:grpSpPr>
        <a:xfrm>
          <a:off x="0" y="0"/>
          <a:ext cx="0" cy="0"/>
          <a:chOff x="0" y="0"/>
          <a:chExt cx="0" cy="0"/>
        </a:xfrm>
      </p:grpSpPr>
      <p:sp>
        <p:nvSpPr>
          <p:cNvPr id="19" name="Media Placeholder 18">
            <a:extLst>
              <a:ext uri="{FF2B5EF4-FFF2-40B4-BE49-F238E27FC236}">
                <a16:creationId xmlns:a16="http://schemas.microsoft.com/office/drawing/2014/main" id="{0163825F-9622-442C-A955-9A670AE36873}"/>
              </a:ext>
            </a:extLst>
          </p:cNvPr>
          <p:cNvSpPr>
            <a:spLocks noGrp="1"/>
          </p:cNvSpPr>
          <p:nvPr>
            <p:ph type="media" sz="quarter" idx="15"/>
          </p:nvPr>
        </p:nvSpPr>
        <p:spPr>
          <a:xfrm>
            <a:off x="463550" y="2155178"/>
            <a:ext cx="4939724" cy="2766001"/>
          </a:xfrm>
          <a:prstGeom prst="rect">
            <a:avLst/>
          </a:prstGeom>
        </p:spPr>
        <p:txBody>
          <a:bodyPr/>
          <a:lstStyle>
            <a:lvl1pPr marL="0" indent="0">
              <a:buClr>
                <a:srgbClr val="FF270D"/>
              </a:buClr>
              <a:buFontTx/>
              <a:buNone/>
              <a:defRPr/>
            </a:lvl1pPr>
          </a:lstStyle>
          <a:p>
            <a:r>
              <a:rPr lang="en-US"/>
              <a:t>Click icon to add media</a:t>
            </a:r>
            <a:endParaRPr lang="en-US" dirty="0"/>
          </a:p>
        </p:txBody>
      </p:sp>
      <p:sp>
        <p:nvSpPr>
          <p:cNvPr id="12" name="Text Placeholder 14">
            <a:extLst>
              <a:ext uri="{FF2B5EF4-FFF2-40B4-BE49-F238E27FC236}">
                <a16:creationId xmlns:a16="http://schemas.microsoft.com/office/drawing/2014/main" id="{92129C50-A50F-426C-A1B4-A5BC0AE11753}"/>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13" name="Title 1">
            <a:extLst>
              <a:ext uri="{FF2B5EF4-FFF2-40B4-BE49-F238E27FC236}">
                <a16:creationId xmlns:a16="http://schemas.microsoft.com/office/drawing/2014/main" id="{24023A7D-6604-4466-8935-5BE76FFE3568}"/>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sp>
        <p:nvSpPr>
          <p:cNvPr id="21" name="Text Placeholder 14">
            <a:extLst>
              <a:ext uri="{FF2B5EF4-FFF2-40B4-BE49-F238E27FC236}">
                <a16:creationId xmlns:a16="http://schemas.microsoft.com/office/drawing/2014/main" id="{70D8C073-C831-4972-98E2-0D778FB9199D}"/>
              </a:ext>
            </a:extLst>
          </p:cNvPr>
          <p:cNvSpPr>
            <a:spLocks noGrp="1"/>
          </p:cNvSpPr>
          <p:nvPr>
            <p:ph type="body" sz="quarter" idx="13"/>
          </p:nvPr>
        </p:nvSpPr>
        <p:spPr>
          <a:xfrm>
            <a:off x="5975597" y="2155178"/>
            <a:ext cx="5748232" cy="276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cxnSp>
        <p:nvCxnSpPr>
          <p:cNvPr id="11" name="Straight Connector 10">
            <a:extLst>
              <a:ext uri="{FF2B5EF4-FFF2-40B4-BE49-F238E27FC236}">
                <a16:creationId xmlns:a16="http://schemas.microsoft.com/office/drawing/2014/main" id="{BAEBAD36-EC7D-4C77-89DF-F466D092DE36}"/>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4" name="Graphic 13">
            <a:extLst>
              <a:ext uri="{FF2B5EF4-FFF2-40B4-BE49-F238E27FC236}">
                <a16:creationId xmlns:a16="http://schemas.microsoft.com/office/drawing/2014/main" id="{0C2C1531-8A99-4649-BB92-845205A8A33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5" name="Slide Number Placeholder 6">
            <a:extLst>
              <a:ext uri="{FF2B5EF4-FFF2-40B4-BE49-F238E27FC236}">
                <a16:creationId xmlns:a16="http://schemas.microsoft.com/office/drawing/2014/main" id="{5CB26993-C947-4534-8402-0F64F94B2D3A}"/>
              </a:ext>
            </a:extLst>
          </p:cNvPr>
          <p:cNvSpPr>
            <a:spLocks noGrp="1"/>
          </p:cNvSpPr>
          <p:nvPr>
            <p:ph type="sldNum" sz="quarter" idx="16"/>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97399968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cxnSp>
        <p:nvCxnSpPr>
          <p:cNvPr id="7" name="Straight Connector 6">
            <a:extLst>
              <a:ext uri="{FF2B5EF4-FFF2-40B4-BE49-F238E27FC236}">
                <a16:creationId xmlns:a16="http://schemas.microsoft.com/office/drawing/2014/main" id="{CD03BBA6-5CE3-44D2-BEC3-1F68D8C34849}"/>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8" name="Graphic 7">
            <a:extLst>
              <a:ext uri="{FF2B5EF4-FFF2-40B4-BE49-F238E27FC236}">
                <a16:creationId xmlns:a16="http://schemas.microsoft.com/office/drawing/2014/main" id="{AE695197-BFA0-4150-8526-A4FF321426F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622025" y="6313244"/>
            <a:ext cx="1059076" cy="330718"/>
          </a:xfrm>
          <a:prstGeom prst="rect">
            <a:avLst/>
          </a:prstGeom>
        </p:spPr>
      </p:pic>
      <p:sp>
        <p:nvSpPr>
          <p:cNvPr id="10" name="Slide Number Placeholder 6">
            <a:extLst>
              <a:ext uri="{FF2B5EF4-FFF2-40B4-BE49-F238E27FC236}">
                <a16:creationId xmlns:a16="http://schemas.microsoft.com/office/drawing/2014/main" id="{D213610D-1924-491C-AEBA-1EC1399317A4}"/>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166736343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pic>
        <p:nvPicPr>
          <p:cNvPr id="21" name="Picture 20">
            <a:extLst>
              <a:ext uri="{FF2B5EF4-FFF2-40B4-BE49-F238E27FC236}">
                <a16:creationId xmlns:a16="http://schemas.microsoft.com/office/drawing/2014/main" id="{46F6C916-80AD-43A5-AE45-7BB6AF28E672}"/>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r="33632"/>
          <a:stretch/>
        </p:blipFill>
        <p:spPr>
          <a:xfrm>
            <a:off x="-1" y="8789"/>
            <a:ext cx="12192001" cy="5996093"/>
          </a:xfrm>
          <a:prstGeom prst="rect">
            <a:avLst/>
          </a:prstGeom>
        </p:spPr>
      </p:pic>
      <p:sp>
        <p:nvSpPr>
          <p:cNvPr id="22" name="Rectangle 21">
            <a:extLst>
              <a:ext uri="{FF2B5EF4-FFF2-40B4-BE49-F238E27FC236}">
                <a16:creationId xmlns:a16="http://schemas.microsoft.com/office/drawing/2014/main" id="{3C865BB1-7E41-4D27-A250-D75244451574}"/>
              </a:ext>
            </a:extLst>
          </p:cNvPr>
          <p:cNvSpPr/>
          <p:nvPr userDrawn="1"/>
        </p:nvSpPr>
        <p:spPr>
          <a:xfrm>
            <a:off x="-2" y="0"/>
            <a:ext cx="12179808" cy="5926822"/>
          </a:xfrm>
          <a:prstGeom prst="rect">
            <a:avLst/>
          </a:prstGeom>
          <a:solidFill>
            <a:schemeClr val="tx1">
              <a:alpha val="56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ln>
                <a:noFill/>
              </a:ln>
            </a:endParaRPr>
          </a:p>
        </p:txBody>
      </p:sp>
      <p:sp>
        <p:nvSpPr>
          <p:cNvPr id="13" name="Text Placeholder 22">
            <a:extLst>
              <a:ext uri="{FF2B5EF4-FFF2-40B4-BE49-F238E27FC236}">
                <a16:creationId xmlns:a16="http://schemas.microsoft.com/office/drawing/2014/main" id="{1DF54627-6FE3-4F02-BEE6-224D46E4FBB6}"/>
              </a:ext>
            </a:extLst>
          </p:cNvPr>
          <p:cNvSpPr>
            <a:spLocks noGrp="1"/>
          </p:cNvSpPr>
          <p:nvPr>
            <p:ph type="body" sz="quarter" idx="12" hasCustomPrompt="1"/>
          </p:nvPr>
        </p:nvSpPr>
        <p:spPr>
          <a:xfrm>
            <a:off x="545642" y="2673043"/>
            <a:ext cx="10525125" cy="598314"/>
          </a:xfrm>
          <a:prstGeom prst="rect">
            <a:avLst/>
          </a:prstGeom>
        </p:spPr>
        <p:txBody>
          <a:bodyPr/>
          <a:lstStyle>
            <a:lvl1pPr marL="0" indent="0">
              <a:buFontTx/>
              <a:buNone/>
              <a:defRPr sz="4400" b="1">
                <a:solidFill>
                  <a:schemeClr val="bg1"/>
                </a:solidFill>
                <a:latin typeface="Arial" panose="020B0604020202020204" pitchFamily="34" charset="0"/>
                <a:cs typeface="Arial" panose="020B0604020202020204" pitchFamily="34" charset="0"/>
              </a:defRPr>
            </a:lvl1pPr>
            <a:lvl2pPr marL="457200" indent="0">
              <a:buFontTx/>
              <a:buNone/>
              <a:defRPr sz="4400">
                <a:latin typeface="Arial" panose="020B0604020202020204" pitchFamily="34" charset="0"/>
                <a:cs typeface="Arial" panose="020B0604020202020204" pitchFamily="34" charset="0"/>
              </a:defRPr>
            </a:lvl2pPr>
            <a:lvl3pPr marL="914400" indent="0">
              <a:buFontTx/>
              <a:buNone/>
              <a:defRPr sz="4400">
                <a:latin typeface="Arial" panose="020B0604020202020204" pitchFamily="34" charset="0"/>
                <a:cs typeface="Arial" panose="020B0604020202020204" pitchFamily="34" charset="0"/>
              </a:defRPr>
            </a:lvl3pPr>
            <a:lvl4pPr marL="1371600" indent="0">
              <a:buFontTx/>
              <a:buNone/>
              <a:defRPr sz="4400">
                <a:latin typeface="Arial" panose="020B0604020202020204" pitchFamily="34" charset="0"/>
                <a:cs typeface="Arial" panose="020B0604020202020204" pitchFamily="34" charset="0"/>
              </a:defRPr>
            </a:lvl4pPr>
            <a:lvl5pPr marL="1828800" indent="0">
              <a:buFontTx/>
              <a:buNone/>
              <a:defRPr sz="4400">
                <a:latin typeface="Arial" panose="020B0604020202020204" pitchFamily="34" charset="0"/>
                <a:cs typeface="Arial" panose="020B0604020202020204" pitchFamily="34" charset="0"/>
              </a:defRPr>
            </a:lvl5pPr>
          </a:lstStyle>
          <a:p>
            <a:pPr lvl="0"/>
            <a:r>
              <a:rPr lang="en-US" dirty="0"/>
              <a:t>Thank You</a:t>
            </a:r>
          </a:p>
        </p:txBody>
      </p:sp>
      <p:sp>
        <p:nvSpPr>
          <p:cNvPr id="23" name="Rectangle 22">
            <a:extLst>
              <a:ext uri="{FF2B5EF4-FFF2-40B4-BE49-F238E27FC236}">
                <a16:creationId xmlns:a16="http://schemas.microsoft.com/office/drawing/2014/main" id="{1A40EE48-6312-4506-A13E-61545C93DC92}"/>
              </a:ext>
            </a:extLst>
          </p:cNvPr>
          <p:cNvSpPr/>
          <p:nvPr userDrawn="1"/>
        </p:nvSpPr>
        <p:spPr>
          <a:xfrm>
            <a:off x="0" y="5922632"/>
            <a:ext cx="12192000" cy="100464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Tree>
    <p:extLst>
      <p:ext uri="{BB962C8B-B14F-4D97-AF65-F5344CB8AC3E}">
        <p14:creationId xmlns:p14="http://schemas.microsoft.com/office/powerpoint/2010/main" val="394927022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cSld name="1_Title+2 Column+2 subheadings">
    <p:spTree>
      <p:nvGrpSpPr>
        <p:cNvPr id="1" name=""/>
        <p:cNvGrpSpPr/>
        <p:nvPr/>
      </p:nvGrpSpPr>
      <p:grpSpPr>
        <a:xfrm>
          <a:off x="0" y="0"/>
          <a:ext cx="0" cy="0"/>
          <a:chOff x="0" y="0"/>
          <a:chExt cx="0" cy="0"/>
        </a:xfrm>
      </p:grpSpPr>
      <p:sp>
        <p:nvSpPr>
          <p:cNvPr id="17" name="Text Placeholder 14">
            <a:extLst>
              <a:ext uri="{FF2B5EF4-FFF2-40B4-BE49-F238E27FC236}">
                <a16:creationId xmlns:a16="http://schemas.microsoft.com/office/drawing/2014/main" id="{625519DA-A563-4E26-A5A3-35A5F1B0BEDE}"/>
              </a:ext>
            </a:extLst>
          </p:cNvPr>
          <p:cNvSpPr>
            <a:spLocks noGrp="1"/>
          </p:cNvSpPr>
          <p:nvPr>
            <p:ph type="body" sz="quarter" idx="13"/>
          </p:nvPr>
        </p:nvSpPr>
        <p:spPr>
          <a:xfrm>
            <a:off x="463551" y="2155178"/>
            <a:ext cx="5632450" cy="3156001"/>
          </a:xfrm>
          <a:prstGeom prst="rect">
            <a:avLst/>
          </a:prstGeom>
        </p:spPr>
        <p:txBody>
          <a:bodyPr>
            <a:normAutofit/>
          </a:bodyPr>
          <a:lstStyle>
            <a:lvl1pPr marL="2286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9" name="Text Placeholder 14">
            <a:extLst>
              <a:ext uri="{FF2B5EF4-FFF2-40B4-BE49-F238E27FC236}">
                <a16:creationId xmlns:a16="http://schemas.microsoft.com/office/drawing/2014/main" id="{8DE7D5C9-099D-4B37-AD1E-5D9D7C8964EF}"/>
              </a:ext>
            </a:extLst>
          </p:cNvPr>
          <p:cNvSpPr>
            <a:spLocks noGrp="1"/>
          </p:cNvSpPr>
          <p:nvPr>
            <p:ph type="body" sz="quarter" idx="16"/>
          </p:nvPr>
        </p:nvSpPr>
        <p:spPr>
          <a:xfrm>
            <a:off x="463549" y="1363083"/>
            <a:ext cx="3742691"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3"/>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0" name="Text Placeholder 14">
            <a:extLst>
              <a:ext uri="{FF2B5EF4-FFF2-40B4-BE49-F238E27FC236}">
                <a16:creationId xmlns:a16="http://schemas.microsoft.com/office/drawing/2014/main" id="{8B52B608-7F53-4519-97B1-8C454FF7D97C}"/>
              </a:ext>
            </a:extLst>
          </p:cNvPr>
          <p:cNvSpPr>
            <a:spLocks noGrp="1"/>
          </p:cNvSpPr>
          <p:nvPr>
            <p:ph type="body" sz="quarter" idx="17"/>
          </p:nvPr>
        </p:nvSpPr>
        <p:spPr>
          <a:xfrm>
            <a:off x="6193791" y="2155178"/>
            <a:ext cx="5530037" cy="3156001"/>
          </a:xfrm>
          <a:prstGeom prst="rect">
            <a:avLst/>
          </a:prstGeom>
        </p:spPr>
        <p:txBody>
          <a:bodyPr>
            <a:normAutofit/>
          </a:bodyPr>
          <a:lstStyle>
            <a:lvl1pPr marL="2286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21" name="Text Placeholder 14">
            <a:extLst>
              <a:ext uri="{FF2B5EF4-FFF2-40B4-BE49-F238E27FC236}">
                <a16:creationId xmlns:a16="http://schemas.microsoft.com/office/drawing/2014/main" id="{269B4E35-2FEB-4EFE-9AB0-3ABEE0F71AF3}"/>
              </a:ext>
            </a:extLst>
          </p:cNvPr>
          <p:cNvSpPr>
            <a:spLocks noGrp="1"/>
          </p:cNvSpPr>
          <p:nvPr>
            <p:ph type="body" sz="quarter" idx="18"/>
          </p:nvPr>
        </p:nvSpPr>
        <p:spPr>
          <a:xfrm>
            <a:off x="6193789" y="1363083"/>
            <a:ext cx="3742691"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3"/>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2" name="Title 1">
            <a:extLst>
              <a:ext uri="{FF2B5EF4-FFF2-40B4-BE49-F238E27FC236}">
                <a16:creationId xmlns:a16="http://schemas.microsoft.com/office/drawing/2014/main" id="{467AEEF8-0ECF-447C-B907-EE4C832274C4}"/>
              </a:ext>
            </a:extLst>
          </p:cNvPr>
          <p:cNvSpPr>
            <a:spLocks noGrp="1"/>
          </p:cNvSpPr>
          <p:nvPr>
            <p:ph type="title"/>
          </p:nvPr>
        </p:nvSpPr>
        <p:spPr>
          <a:xfrm>
            <a:off x="463550" y="478702"/>
            <a:ext cx="11260278" cy="713216"/>
          </a:xfrm>
          <a:prstGeom prst="rect">
            <a:avLst/>
          </a:prstGeom>
        </p:spPr>
        <p:txBody>
          <a:bodyPr>
            <a:normAutofit/>
          </a:bodyPr>
          <a:lstStyle>
            <a:lvl1pPr>
              <a:defRPr sz="3600" b="0">
                <a:solidFill>
                  <a:srgbClr val="FF270D"/>
                </a:solidFill>
                <a:latin typeface="Arial" panose="020B0604020202020204" pitchFamily="34" charset="0"/>
                <a:cs typeface="Arial" panose="020B0604020202020204"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44811690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Content">
    <p:spTree>
      <p:nvGrpSpPr>
        <p:cNvPr id="1" name=""/>
        <p:cNvGrpSpPr/>
        <p:nvPr/>
      </p:nvGrpSpPr>
      <p:grpSpPr>
        <a:xfrm>
          <a:off x="0" y="0"/>
          <a:ext cx="0" cy="0"/>
          <a:chOff x="0" y="0"/>
          <a:chExt cx="0" cy="0"/>
        </a:xfrm>
      </p:grpSpPr>
      <p:sp>
        <p:nvSpPr>
          <p:cNvPr id="4" name="Text Placeholder 14">
            <a:extLst>
              <a:ext uri="{FF2B5EF4-FFF2-40B4-BE49-F238E27FC236}">
                <a16:creationId xmlns:a16="http://schemas.microsoft.com/office/drawing/2014/main" id="{520C87E0-F87D-EE4C-8EFF-F40E61AA50AF}"/>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9" name="Title 1">
            <a:extLst>
              <a:ext uri="{FF2B5EF4-FFF2-40B4-BE49-F238E27FC236}">
                <a16:creationId xmlns:a16="http://schemas.microsoft.com/office/drawing/2014/main" id="{EDF58536-9141-3F4B-8982-16C75D9129DE}"/>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0" name="Straight Connector 9">
            <a:extLst>
              <a:ext uri="{FF2B5EF4-FFF2-40B4-BE49-F238E27FC236}">
                <a16:creationId xmlns:a16="http://schemas.microsoft.com/office/drawing/2014/main" id="{136E3703-E07A-42E3-B578-C8CADCDE0E89}"/>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C6D44476-C256-492F-B4D6-1B81ABF13BF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4" name="Slide Number Placeholder 6">
            <a:extLst>
              <a:ext uri="{FF2B5EF4-FFF2-40B4-BE49-F238E27FC236}">
                <a16:creationId xmlns:a16="http://schemas.microsoft.com/office/drawing/2014/main" id="{8557D49C-6CE5-40CD-BC10-0299D651B347}"/>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61724370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Content">
    <p:spTree>
      <p:nvGrpSpPr>
        <p:cNvPr id="1" name=""/>
        <p:cNvGrpSpPr/>
        <p:nvPr/>
      </p:nvGrpSpPr>
      <p:grpSpPr>
        <a:xfrm>
          <a:off x="0" y="0"/>
          <a:ext cx="0" cy="0"/>
          <a:chOff x="0" y="0"/>
          <a:chExt cx="0" cy="0"/>
        </a:xfrm>
      </p:grpSpPr>
      <p:sp>
        <p:nvSpPr>
          <p:cNvPr id="4" name="Text Placeholder 14">
            <a:extLst>
              <a:ext uri="{FF2B5EF4-FFF2-40B4-BE49-F238E27FC236}">
                <a16:creationId xmlns:a16="http://schemas.microsoft.com/office/drawing/2014/main" id="{520C87E0-F87D-EE4C-8EFF-F40E61AA50AF}"/>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9" name="Title 1">
            <a:extLst>
              <a:ext uri="{FF2B5EF4-FFF2-40B4-BE49-F238E27FC236}">
                <a16:creationId xmlns:a16="http://schemas.microsoft.com/office/drawing/2014/main" id="{EDF58536-9141-3F4B-8982-16C75D9129DE}"/>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0" name="Straight Connector 9">
            <a:extLst>
              <a:ext uri="{FF2B5EF4-FFF2-40B4-BE49-F238E27FC236}">
                <a16:creationId xmlns:a16="http://schemas.microsoft.com/office/drawing/2014/main" id="{6CDCAA10-24E4-4878-9FD1-7E1C15708AA4}"/>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CB14A226-019D-4AE3-BEB3-580AC6BC822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2" name="Slide Number Placeholder 6">
            <a:extLst>
              <a:ext uri="{FF2B5EF4-FFF2-40B4-BE49-F238E27FC236}">
                <a16:creationId xmlns:a16="http://schemas.microsoft.com/office/drawing/2014/main" id="{DFD564CF-E82C-4982-9D70-AA731293D5B5}"/>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165555831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5052915-8A36-4DED-A9A2-2E2D0A9A390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2192" y="0"/>
            <a:ext cx="12167616" cy="6858000"/>
          </a:xfrm>
          <a:prstGeom prst="rect">
            <a:avLst/>
          </a:prstGeom>
        </p:spPr>
      </p:pic>
      <p:sp>
        <p:nvSpPr>
          <p:cNvPr id="33" name="Rectangle 32">
            <a:extLst>
              <a:ext uri="{FF2B5EF4-FFF2-40B4-BE49-F238E27FC236}">
                <a16:creationId xmlns:a16="http://schemas.microsoft.com/office/drawing/2014/main" id="{C1D2BAA8-F933-4BD0-9B21-54CF3421868E}"/>
              </a:ext>
            </a:extLst>
          </p:cNvPr>
          <p:cNvSpPr/>
          <p:nvPr userDrawn="1"/>
        </p:nvSpPr>
        <p:spPr>
          <a:xfrm>
            <a:off x="0" y="4712677"/>
            <a:ext cx="12192000" cy="214532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a:p>
        </p:txBody>
      </p:sp>
      <p:pic>
        <p:nvPicPr>
          <p:cNvPr id="6" name="Picture 5">
            <a:extLst>
              <a:ext uri="{FF2B5EF4-FFF2-40B4-BE49-F238E27FC236}">
                <a16:creationId xmlns:a16="http://schemas.microsoft.com/office/drawing/2014/main" id="{CE02DE59-679E-47F9-BE8C-774CAE105C28}"/>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r="15400"/>
          <a:stretch/>
        </p:blipFill>
        <p:spPr>
          <a:xfrm>
            <a:off x="-1" y="8790"/>
            <a:ext cx="12192001" cy="4703886"/>
          </a:xfrm>
          <a:prstGeom prst="rect">
            <a:avLst/>
          </a:prstGeom>
        </p:spPr>
      </p:pic>
      <p:sp>
        <p:nvSpPr>
          <p:cNvPr id="7" name="Rectangle 6">
            <a:extLst>
              <a:ext uri="{FF2B5EF4-FFF2-40B4-BE49-F238E27FC236}">
                <a16:creationId xmlns:a16="http://schemas.microsoft.com/office/drawing/2014/main" id="{38EF4414-5723-465C-B9A9-EB1133424EAF}"/>
              </a:ext>
            </a:extLst>
          </p:cNvPr>
          <p:cNvSpPr/>
          <p:nvPr userDrawn="1"/>
        </p:nvSpPr>
        <p:spPr>
          <a:xfrm>
            <a:off x="12192" y="438776"/>
            <a:ext cx="12179808" cy="4712677"/>
          </a:xfrm>
          <a:prstGeom prst="rect">
            <a:avLst/>
          </a:prstGeom>
          <a:solidFill>
            <a:schemeClr val="tx1">
              <a:alpha val="5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ln>
                <a:noFill/>
              </a:ln>
            </a:endParaRPr>
          </a:p>
        </p:txBody>
      </p:sp>
      <p:sp>
        <p:nvSpPr>
          <p:cNvPr id="13" name="Text Placeholder 22">
            <a:extLst>
              <a:ext uri="{FF2B5EF4-FFF2-40B4-BE49-F238E27FC236}">
                <a16:creationId xmlns:a16="http://schemas.microsoft.com/office/drawing/2014/main" id="{1DF54627-6FE3-4F02-BEE6-224D46E4FBB6}"/>
              </a:ext>
            </a:extLst>
          </p:cNvPr>
          <p:cNvSpPr>
            <a:spLocks noGrp="1"/>
          </p:cNvSpPr>
          <p:nvPr userDrawn="1">
            <p:ph type="body" sz="quarter" idx="12" hasCustomPrompt="1"/>
          </p:nvPr>
        </p:nvSpPr>
        <p:spPr>
          <a:xfrm>
            <a:off x="398156" y="3270882"/>
            <a:ext cx="11562786" cy="1424148"/>
          </a:xfrm>
          <a:prstGeom prst="rect">
            <a:avLst/>
          </a:prstGeom>
        </p:spPr>
        <p:txBody>
          <a:bodyPr/>
          <a:lstStyle>
            <a:lvl1pPr marL="0" indent="0">
              <a:lnSpc>
                <a:spcPct val="100000"/>
              </a:lnSpc>
              <a:buFontTx/>
              <a:buNone/>
              <a:defRPr sz="4400" b="1">
                <a:solidFill>
                  <a:schemeClr val="bg1"/>
                </a:solidFill>
                <a:latin typeface="Arial" panose="020B0604020202020204" pitchFamily="34" charset="0"/>
                <a:cs typeface="Arial" panose="020B0604020202020204" pitchFamily="34" charset="0"/>
              </a:defRPr>
            </a:lvl1pPr>
            <a:lvl2pPr marL="457200" indent="0">
              <a:buFontTx/>
              <a:buNone/>
              <a:defRPr sz="4400">
                <a:latin typeface="Arial" panose="020B0604020202020204" pitchFamily="34" charset="0"/>
                <a:cs typeface="Arial" panose="020B0604020202020204" pitchFamily="34" charset="0"/>
              </a:defRPr>
            </a:lvl2pPr>
            <a:lvl3pPr marL="914400" indent="0">
              <a:buFontTx/>
              <a:buNone/>
              <a:defRPr sz="4400">
                <a:latin typeface="Arial" panose="020B0604020202020204" pitchFamily="34" charset="0"/>
                <a:cs typeface="Arial" panose="020B0604020202020204" pitchFamily="34" charset="0"/>
              </a:defRPr>
            </a:lvl3pPr>
            <a:lvl4pPr marL="1371600" indent="0">
              <a:buFontTx/>
              <a:buNone/>
              <a:defRPr sz="4400">
                <a:latin typeface="Arial" panose="020B0604020202020204" pitchFamily="34" charset="0"/>
                <a:cs typeface="Arial" panose="020B0604020202020204" pitchFamily="34" charset="0"/>
              </a:defRPr>
            </a:lvl4pPr>
            <a:lvl5pPr marL="1828800" indent="0">
              <a:buFontTx/>
              <a:buNone/>
              <a:defRPr sz="4400">
                <a:latin typeface="Arial" panose="020B0604020202020204" pitchFamily="34" charset="0"/>
                <a:cs typeface="Arial" panose="020B0604020202020204" pitchFamily="34" charset="0"/>
              </a:defRPr>
            </a:lvl5pPr>
          </a:lstStyle>
          <a:p>
            <a:pPr lvl="0"/>
            <a:r>
              <a:rPr lang="en-US" dirty="0"/>
              <a:t>Click To Edit Master Text Styles</a:t>
            </a:r>
          </a:p>
        </p:txBody>
      </p:sp>
      <p:cxnSp>
        <p:nvCxnSpPr>
          <p:cNvPr id="10" name="Straight Connector 9">
            <a:extLst>
              <a:ext uri="{FF2B5EF4-FFF2-40B4-BE49-F238E27FC236}">
                <a16:creationId xmlns:a16="http://schemas.microsoft.com/office/drawing/2014/main" id="{1CEBA9AB-DA51-4E42-BD7D-611F0F485B5C}"/>
              </a:ext>
            </a:extLst>
          </p:cNvPr>
          <p:cNvCxnSpPr>
            <a:cxnSpLocks/>
          </p:cNvCxnSpPr>
          <p:nvPr userDrawn="1"/>
        </p:nvCxnSpPr>
        <p:spPr>
          <a:xfrm>
            <a:off x="431800" y="6520168"/>
            <a:ext cx="100838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D0A23A50-1F24-4E6C-B9DD-E9C7F079E4D2}"/>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0622025" y="6313244"/>
            <a:ext cx="1059076" cy="330718"/>
          </a:xfrm>
          <a:prstGeom prst="rect">
            <a:avLst/>
          </a:prstGeom>
        </p:spPr>
      </p:pic>
    </p:spTree>
    <p:extLst>
      <p:ext uri="{BB962C8B-B14F-4D97-AF65-F5344CB8AC3E}">
        <p14:creationId xmlns:p14="http://schemas.microsoft.com/office/powerpoint/2010/main" val="125861372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Content_2">
    <p:spTree>
      <p:nvGrpSpPr>
        <p:cNvPr id="1" name=""/>
        <p:cNvGrpSpPr/>
        <p:nvPr/>
      </p:nvGrpSpPr>
      <p:grpSpPr>
        <a:xfrm>
          <a:off x="0" y="0"/>
          <a:ext cx="0" cy="0"/>
          <a:chOff x="0" y="0"/>
          <a:chExt cx="0" cy="0"/>
        </a:xfrm>
      </p:grpSpPr>
      <p:sp>
        <p:nvSpPr>
          <p:cNvPr id="18" name="Text Placeholder 14">
            <a:extLst>
              <a:ext uri="{FF2B5EF4-FFF2-40B4-BE49-F238E27FC236}">
                <a16:creationId xmlns:a16="http://schemas.microsoft.com/office/drawing/2014/main" id="{4C1D2502-6D0F-4202-A00D-CDC24D888BF1}"/>
              </a:ext>
            </a:extLst>
          </p:cNvPr>
          <p:cNvSpPr>
            <a:spLocks noGrp="1"/>
          </p:cNvSpPr>
          <p:nvPr>
            <p:ph type="body" sz="quarter" idx="13"/>
          </p:nvPr>
        </p:nvSpPr>
        <p:spPr>
          <a:xfrm>
            <a:off x="463550" y="2155178"/>
            <a:ext cx="11260279" cy="544252"/>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dirty="0"/>
              <a:t>Click to edit Master text styles</a:t>
            </a:r>
          </a:p>
          <a:p>
            <a:pPr lvl="1"/>
            <a:r>
              <a:rPr lang="en-US" dirty="0"/>
              <a:t>Second level</a:t>
            </a:r>
          </a:p>
        </p:txBody>
      </p:sp>
      <p:sp>
        <p:nvSpPr>
          <p:cNvPr id="12" name="Text Placeholder 14">
            <a:extLst>
              <a:ext uri="{FF2B5EF4-FFF2-40B4-BE49-F238E27FC236}">
                <a16:creationId xmlns:a16="http://schemas.microsoft.com/office/drawing/2014/main" id="{9F60A7A5-DBE1-4100-B28C-BC6B35FB3AD6}"/>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1" name="Title 1">
            <a:extLst>
              <a:ext uri="{FF2B5EF4-FFF2-40B4-BE49-F238E27FC236}">
                <a16:creationId xmlns:a16="http://schemas.microsoft.com/office/drawing/2014/main" id="{1C4BE21B-C38B-4A0F-9DC7-142BCF974732}"/>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3" name="Straight Connector 12">
            <a:extLst>
              <a:ext uri="{FF2B5EF4-FFF2-40B4-BE49-F238E27FC236}">
                <a16:creationId xmlns:a16="http://schemas.microsoft.com/office/drawing/2014/main" id="{EE40B0ED-A9F2-4C94-98FF-924299A8C3C0}"/>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5" name="Graphic 14">
            <a:extLst>
              <a:ext uri="{FF2B5EF4-FFF2-40B4-BE49-F238E27FC236}">
                <a16:creationId xmlns:a16="http://schemas.microsoft.com/office/drawing/2014/main" id="{F2D4330B-72BA-4E47-9EB9-D1419926F8C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6" name="Slide Number Placeholder 6">
            <a:extLst>
              <a:ext uri="{FF2B5EF4-FFF2-40B4-BE49-F238E27FC236}">
                <a16:creationId xmlns:a16="http://schemas.microsoft.com/office/drawing/2014/main" id="{B457AA67-0DAE-4E8A-B03D-DBE56C87C684}"/>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551729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2 Column+2 subheadings">
    <p:spTree>
      <p:nvGrpSpPr>
        <p:cNvPr id="1" name=""/>
        <p:cNvGrpSpPr/>
        <p:nvPr/>
      </p:nvGrpSpPr>
      <p:grpSpPr>
        <a:xfrm>
          <a:off x="0" y="0"/>
          <a:ext cx="0" cy="0"/>
          <a:chOff x="0" y="0"/>
          <a:chExt cx="0" cy="0"/>
        </a:xfrm>
      </p:grpSpPr>
      <p:sp>
        <p:nvSpPr>
          <p:cNvPr id="26" name="Text Placeholder 14">
            <a:extLst>
              <a:ext uri="{FF2B5EF4-FFF2-40B4-BE49-F238E27FC236}">
                <a16:creationId xmlns:a16="http://schemas.microsoft.com/office/drawing/2014/main" id="{C6D2406A-2722-4EF1-820F-8707F8A90F48}"/>
              </a:ext>
            </a:extLst>
          </p:cNvPr>
          <p:cNvSpPr>
            <a:spLocks noGrp="1"/>
          </p:cNvSpPr>
          <p:nvPr>
            <p:ph type="body" sz="quarter" idx="13"/>
          </p:nvPr>
        </p:nvSpPr>
        <p:spPr>
          <a:xfrm>
            <a:off x="6193791" y="2155178"/>
            <a:ext cx="5530038"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6" name="Text Placeholder 14">
            <a:extLst>
              <a:ext uri="{FF2B5EF4-FFF2-40B4-BE49-F238E27FC236}">
                <a16:creationId xmlns:a16="http://schemas.microsoft.com/office/drawing/2014/main" id="{8D9C4735-58C7-4EEA-B73F-615981BB8E4D}"/>
              </a:ext>
            </a:extLst>
          </p:cNvPr>
          <p:cNvSpPr>
            <a:spLocks noGrp="1"/>
          </p:cNvSpPr>
          <p:nvPr>
            <p:ph type="body" sz="quarter" idx="19"/>
          </p:nvPr>
        </p:nvSpPr>
        <p:spPr>
          <a:xfrm>
            <a:off x="465861" y="2155178"/>
            <a:ext cx="5630140"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27" name="Text Placeholder 14">
            <a:extLst>
              <a:ext uri="{FF2B5EF4-FFF2-40B4-BE49-F238E27FC236}">
                <a16:creationId xmlns:a16="http://schemas.microsoft.com/office/drawing/2014/main" id="{EC016286-5D8B-40A1-A46E-DD10B2BE98D8}"/>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8" name="Title 1">
            <a:extLst>
              <a:ext uri="{FF2B5EF4-FFF2-40B4-BE49-F238E27FC236}">
                <a16:creationId xmlns:a16="http://schemas.microsoft.com/office/drawing/2014/main" id="{585586C7-60DD-49B3-BDE8-23ADE452708B}"/>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1" name="Straight Connector 10">
            <a:extLst>
              <a:ext uri="{FF2B5EF4-FFF2-40B4-BE49-F238E27FC236}">
                <a16:creationId xmlns:a16="http://schemas.microsoft.com/office/drawing/2014/main" id="{FADDE7CB-CF38-49AB-B852-FCDF76B962E6}"/>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2" name="Graphic 11">
            <a:extLst>
              <a:ext uri="{FF2B5EF4-FFF2-40B4-BE49-F238E27FC236}">
                <a16:creationId xmlns:a16="http://schemas.microsoft.com/office/drawing/2014/main" id="{B5D97CDF-8F6D-4696-B7EB-C50BC4E74F0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9" name="Slide Number Placeholder 6">
            <a:extLst>
              <a:ext uri="{FF2B5EF4-FFF2-40B4-BE49-F238E27FC236}">
                <a16:creationId xmlns:a16="http://schemas.microsoft.com/office/drawing/2014/main" id="{E13D5DD3-50DE-4DB0-ACFA-498F33D8FEA9}"/>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403937798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Title+Content+Picture (2 column)">
    <p:spTree>
      <p:nvGrpSpPr>
        <p:cNvPr id="1" name=""/>
        <p:cNvGrpSpPr/>
        <p:nvPr/>
      </p:nvGrpSpPr>
      <p:grpSpPr>
        <a:xfrm>
          <a:off x="0" y="0"/>
          <a:ext cx="0" cy="0"/>
          <a:chOff x="0" y="0"/>
          <a:chExt cx="0" cy="0"/>
        </a:xfrm>
      </p:grpSpPr>
      <p:sp>
        <p:nvSpPr>
          <p:cNvPr id="17" name="Picture Placeholder 16">
            <a:extLst>
              <a:ext uri="{FF2B5EF4-FFF2-40B4-BE49-F238E27FC236}">
                <a16:creationId xmlns:a16="http://schemas.microsoft.com/office/drawing/2014/main" id="{55175844-852B-416F-8BD1-E38A3A9BB8EC}"/>
              </a:ext>
            </a:extLst>
          </p:cNvPr>
          <p:cNvSpPr>
            <a:spLocks noGrp="1"/>
          </p:cNvSpPr>
          <p:nvPr>
            <p:ph type="pic" sz="quarter" idx="14"/>
          </p:nvPr>
        </p:nvSpPr>
        <p:spPr>
          <a:xfrm>
            <a:off x="8451914" y="2155178"/>
            <a:ext cx="3295650" cy="3138732"/>
          </a:xfrm>
          <a:prstGeom prst="rect">
            <a:avLst/>
          </a:prstGeom>
        </p:spPr>
        <p:txBody>
          <a:bodyPr/>
          <a:lstStyle>
            <a:lvl1pPr marL="0" indent="0">
              <a:buFontTx/>
              <a:buNone/>
              <a:defRPr/>
            </a:lvl1pPr>
          </a:lstStyle>
          <a:p>
            <a:r>
              <a:rPr lang="en-US"/>
              <a:t>Click icon to add picture</a:t>
            </a:r>
            <a:endParaRPr lang="en-US" dirty="0"/>
          </a:p>
        </p:txBody>
      </p:sp>
      <p:sp>
        <p:nvSpPr>
          <p:cNvPr id="12" name="Text Placeholder 14">
            <a:extLst>
              <a:ext uri="{FF2B5EF4-FFF2-40B4-BE49-F238E27FC236}">
                <a16:creationId xmlns:a16="http://schemas.microsoft.com/office/drawing/2014/main" id="{6C80F846-D540-4105-A3E2-90BBA13E91F0}"/>
              </a:ext>
            </a:extLst>
          </p:cNvPr>
          <p:cNvSpPr>
            <a:spLocks noGrp="1"/>
          </p:cNvSpPr>
          <p:nvPr>
            <p:ph type="body" sz="quarter" idx="19"/>
          </p:nvPr>
        </p:nvSpPr>
        <p:spPr>
          <a:xfrm>
            <a:off x="465861" y="2155178"/>
            <a:ext cx="7791448"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3" name="Text Placeholder 14">
            <a:extLst>
              <a:ext uri="{FF2B5EF4-FFF2-40B4-BE49-F238E27FC236}">
                <a16:creationId xmlns:a16="http://schemas.microsoft.com/office/drawing/2014/main" id="{88C2FABF-7C46-4EFF-9A0F-C52DEAAB18A2}"/>
              </a:ext>
            </a:extLst>
          </p:cNvPr>
          <p:cNvSpPr>
            <a:spLocks noGrp="1"/>
          </p:cNvSpPr>
          <p:nvPr>
            <p:ph type="body" sz="quarter" idx="20"/>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1" name="Title 1">
            <a:extLst>
              <a:ext uri="{FF2B5EF4-FFF2-40B4-BE49-F238E27FC236}">
                <a16:creationId xmlns:a16="http://schemas.microsoft.com/office/drawing/2014/main" id="{D7CFE1BD-BF2C-49A5-84F7-38A20C5C85BC}"/>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4" name="Straight Connector 13">
            <a:extLst>
              <a:ext uri="{FF2B5EF4-FFF2-40B4-BE49-F238E27FC236}">
                <a16:creationId xmlns:a16="http://schemas.microsoft.com/office/drawing/2014/main" id="{B3A36BE5-967B-47AA-BF1E-9279A4E7E6CA}"/>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5" name="Graphic 14">
            <a:extLst>
              <a:ext uri="{FF2B5EF4-FFF2-40B4-BE49-F238E27FC236}">
                <a16:creationId xmlns:a16="http://schemas.microsoft.com/office/drawing/2014/main" id="{8142E152-3F97-4638-8AA7-06B7D04E0E0C}"/>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6" name="Slide Number Placeholder 6">
            <a:extLst>
              <a:ext uri="{FF2B5EF4-FFF2-40B4-BE49-F238E27FC236}">
                <a16:creationId xmlns:a16="http://schemas.microsoft.com/office/drawing/2014/main" id="{CFB84014-F165-4052-80A4-C23B25206E64}"/>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292146759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Content+Picture (2 column)-op2">
    <p:spTree>
      <p:nvGrpSpPr>
        <p:cNvPr id="1" name=""/>
        <p:cNvGrpSpPr/>
        <p:nvPr/>
      </p:nvGrpSpPr>
      <p:grpSpPr>
        <a:xfrm>
          <a:off x="0" y="0"/>
          <a:ext cx="0" cy="0"/>
          <a:chOff x="0" y="0"/>
          <a:chExt cx="0" cy="0"/>
        </a:xfrm>
      </p:grpSpPr>
      <p:sp>
        <p:nvSpPr>
          <p:cNvPr id="24" name="Picture Placeholder 16">
            <a:extLst>
              <a:ext uri="{FF2B5EF4-FFF2-40B4-BE49-F238E27FC236}">
                <a16:creationId xmlns:a16="http://schemas.microsoft.com/office/drawing/2014/main" id="{8054AEA1-0156-48E6-AC30-EF81FB761610}"/>
              </a:ext>
            </a:extLst>
          </p:cNvPr>
          <p:cNvSpPr>
            <a:spLocks noGrp="1"/>
          </p:cNvSpPr>
          <p:nvPr>
            <p:ph type="pic" sz="quarter" idx="14"/>
          </p:nvPr>
        </p:nvSpPr>
        <p:spPr>
          <a:xfrm>
            <a:off x="463550" y="2155178"/>
            <a:ext cx="3295650" cy="3156004"/>
          </a:xfrm>
          <a:prstGeom prst="rect">
            <a:avLst/>
          </a:prstGeom>
        </p:spPr>
        <p:txBody>
          <a:bodyPr/>
          <a:lstStyle>
            <a:lvl1pPr marL="0" indent="0">
              <a:buFontTx/>
              <a:buNone/>
              <a:defRPr/>
            </a:lvl1pPr>
          </a:lstStyle>
          <a:p>
            <a:r>
              <a:rPr lang="en-US"/>
              <a:t>Click icon to add picture</a:t>
            </a:r>
            <a:endParaRPr lang="en-US" dirty="0"/>
          </a:p>
        </p:txBody>
      </p:sp>
      <p:sp>
        <p:nvSpPr>
          <p:cNvPr id="11" name="Text Placeholder 14">
            <a:extLst>
              <a:ext uri="{FF2B5EF4-FFF2-40B4-BE49-F238E27FC236}">
                <a16:creationId xmlns:a16="http://schemas.microsoft.com/office/drawing/2014/main" id="{3AED9CCB-BCE8-4297-9303-041507E79588}"/>
              </a:ext>
            </a:extLst>
          </p:cNvPr>
          <p:cNvSpPr>
            <a:spLocks noGrp="1"/>
          </p:cNvSpPr>
          <p:nvPr>
            <p:ph type="body" sz="quarter" idx="13"/>
          </p:nvPr>
        </p:nvSpPr>
        <p:spPr>
          <a:xfrm>
            <a:off x="4319839" y="2155181"/>
            <a:ext cx="7403989"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3" name="Text Placeholder 14">
            <a:extLst>
              <a:ext uri="{FF2B5EF4-FFF2-40B4-BE49-F238E27FC236}">
                <a16:creationId xmlns:a16="http://schemas.microsoft.com/office/drawing/2014/main" id="{2711701B-F339-4142-B879-9B35EA158B5A}"/>
              </a:ext>
            </a:extLst>
          </p:cNvPr>
          <p:cNvSpPr>
            <a:spLocks noGrp="1"/>
          </p:cNvSpPr>
          <p:nvPr>
            <p:ph type="body" sz="quarter" idx="20"/>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1" name="Title 1">
            <a:extLst>
              <a:ext uri="{FF2B5EF4-FFF2-40B4-BE49-F238E27FC236}">
                <a16:creationId xmlns:a16="http://schemas.microsoft.com/office/drawing/2014/main" id="{6AD53723-B9C5-414F-85A1-65DBCC093785}"/>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2" name="Straight Connector 11">
            <a:extLst>
              <a:ext uri="{FF2B5EF4-FFF2-40B4-BE49-F238E27FC236}">
                <a16:creationId xmlns:a16="http://schemas.microsoft.com/office/drawing/2014/main" id="{7FE19ACC-5045-4206-B51B-65F10EAD4470}"/>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4" name="Graphic 13">
            <a:extLst>
              <a:ext uri="{FF2B5EF4-FFF2-40B4-BE49-F238E27FC236}">
                <a16:creationId xmlns:a16="http://schemas.microsoft.com/office/drawing/2014/main" id="{59D56AD6-CA18-4B00-AE08-53FA7B6E78E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5" name="Slide Number Placeholder 6">
            <a:extLst>
              <a:ext uri="{FF2B5EF4-FFF2-40B4-BE49-F238E27FC236}">
                <a16:creationId xmlns:a16="http://schemas.microsoft.com/office/drawing/2014/main" id="{820780CB-C749-4877-B426-B8E29F3CCF76}"/>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276225433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icons+Content">
    <p:spTree>
      <p:nvGrpSpPr>
        <p:cNvPr id="1" name=""/>
        <p:cNvGrpSpPr/>
        <p:nvPr/>
      </p:nvGrpSpPr>
      <p:grpSpPr>
        <a:xfrm>
          <a:off x="0" y="0"/>
          <a:ext cx="0" cy="0"/>
          <a:chOff x="0" y="0"/>
          <a:chExt cx="0" cy="0"/>
        </a:xfrm>
      </p:grpSpPr>
      <p:sp>
        <p:nvSpPr>
          <p:cNvPr id="23" name="Text Placeholder 22">
            <a:extLst>
              <a:ext uri="{FF2B5EF4-FFF2-40B4-BE49-F238E27FC236}">
                <a16:creationId xmlns:a16="http://schemas.microsoft.com/office/drawing/2014/main" id="{18E432B7-1F4C-4CFF-8575-E7CFC58E86D8}"/>
              </a:ext>
            </a:extLst>
          </p:cNvPr>
          <p:cNvSpPr>
            <a:spLocks noGrp="1"/>
          </p:cNvSpPr>
          <p:nvPr>
            <p:ph type="body" sz="quarter" idx="19"/>
          </p:nvPr>
        </p:nvSpPr>
        <p:spPr>
          <a:xfrm>
            <a:off x="463549" y="3871348"/>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4" name="Text Placeholder 22">
            <a:extLst>
              <a:ext uri="{FF2B5EF4-FFF2-40B4-BE49-F238E27FC236}">
                <a16:creationId xmlns:a16="http://schemas.microsoft.com/office/drawing/2014/main" id="{2108C5A5-7E2D-4FB4-98C2-927BD2473844}"/>
              </a:ext>
            </a:extLst>
          </p:cNvPr>
          <p:cNvSpPr>
            <a:spLocks noGrp="1"/>
          </p:cNvSpPr>
          <p:nvPr>
            <p:ph type="body" sz="quarter" idx="20"/>
          </p:nvPr>
        </p:nvSpPr>
        <p:spPr>
          <a:xfrm>
            <a:off x="2747754" y="3868034"/>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5" name="Text Placeholder 22">
            <a:extLst>
              <a:ext uri="{FF2B5EF4-FFF2-40B4-BE49-F238E27FC236}">
                <a16:creationId xmlns:a16="http://schemas.microsoft.com/office/drawing/2014/main" id="{E40A23F4-FDD3-48F8-AD63-94B0943EBDD3}"/>
              </a:ext>
            </a:extLst>
          </p:cNvPr>
          <p:cNvSpPr>
            <a:spLocks noGrp="1"/>
          </p:cNvSpPr>
          <p:nvPr>
            <p:ph type="body" sz="quarter" idx="21"/>
          </p:nvPr>
        </p:nvSpPr>
        <p:spPr>
          <a:xfrm>
            <a:off x="5031959" y="3864720"/>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6" name="Text Placeholder 22">
            <a:extLst>
              <a:ext uri="{FF2B5EF4-FFF2-40B4-BE49-F238E27FC236}">
                <a16:creationId xmlns:a16="http://schemas.microsoft.com/office/drawing/2014/main" id="{710F5905-35BB-40BD-89AB-6B98D538DE2B}"/>
              </a:ext>
            </a:extLst>
          </p:cNvPr>
          <p:cNvSpPr>
            <a:spLocks noGrp="1"/>
          </p:cNvSpPr>
          <p:nvPr>
            <p:ph type="body" sz="quarter" idx="22"/>
          </p:nvPr>
        </p:nvSpPr>
        <p:spPr>
          <a:xfrm>
            <a:off x="7316164" y="3856767"/>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7" name="Text Placeholder 22">
            <a:extLst>
              <a:ext uri="{FF2B5EF4-FFF2-40B4-BE49-F238E27FC236}">
                <a16:creationId xmlns:a16="http://schemas.microsoft.com/office/drawing/2014/main" id="{6BF555FD-AC31-4E9A-8B25-DE18FCE3216D}"/>
              </a:ext>
            </a:extLst>
          </p:cNvPr>
          <p:cNvSpPr>
            <a:spLocks noGrp="1"/>
          </p:cNvSpPr>
          <p:nvPr>
            <p:ph type="body" sz="quarter" idx="23"/>
          </p:nvPr>
        </p:nvSpPr>
        <p:spPr>
          <a:xfrm>
            <a:off x="9600369" y="3858092"/>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1" name="Text Placeholder 14">
            <a:extLst>
              <a:ext uri="{FF2B5EF4-FFF2-40B4-BE49-F238E27FC236}">
                <a16:creationId xmlns:a16="http://schemas.microsoft.com/office/drawing/2014/main" id="{263F997A-CEF0-4FB0-BD9D-FAF8B63D8C3A}"/>
              </a:ext>
            </a:extLst>
          </p:cNvPr>
          <p:cNvSpPr>
            <a:spLocks noGrp="1"/>
          </p:cNvSpPr>
          <p:nvPr>
            <p:ph type="body" sz="quarter" idx="29"/>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37" name="Title 1">
            <a:extLst>
              <a:ext uri="{FF2B5EF4-FFF2-40B4-BE49-F238E27FC236}">
                <a16:creationId xmlns:a16="http://schemas.microsoft.com/office/drawing/2014/main" id="{0CC00FA0-254C-483F-94C2-AA94DE42F18D}"/>
              </a:ext>
            </a:extLst>
          </p:cNvPr>
          <p:cNvSpPr>
            <a:spLocks noGrp="1"/>
          </p:cNvSpPr>
          <p:nvPr>
            <p:ph type="title" hasCustomPrompt="1"/>
          </p:nvPr>
        </p:nvSpPr>
        <p:spPr>
          <a:xfrm>
            <a:off x="465861"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pic>
        <p:nvPicPr>
          <p:cNvPr id="5" name="Graphic 4">
            <a:extLst>
              <a:ext uri="{FF2B5EF4-FFF2-40B4-BE49-F238E27FC236}">
                <a16:creationId xmlns:a16="http://schemas.microsoft.com/office/drawing/2014/main" id="{5BFCE74B-C4D4-47D2-A481-128353F2CC6C}"/>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73001" y="2647398"/>
            <a:ext cx="892141" cy="892141"/>
          </a:xfrm>
          <a:prstGeom prst="rect">
            <a:avLst/>
          </a:prstGeom>
        </p:spPr>
      </p:pic>
      <p:pic>
        <p:nvPicPr>
          <p:cNvPr id="7" name="Graphic 6">
            <a:extLst>
              <a:ext uri="{FF2B5EF4-FFF2-40B4-BE49-F238E27FC236}">
                <a16:creationId xmlns:a16="http://schemas.microsoft.com/office/drawing/2014/main" id="{D9B08A19-CB31-42C0-84A3-18B45AE9A639}"/>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3127026" y="2702322"/>
            <a:ext cx="952500" cy="952500"/>
          </a:xfrm>
          <a:prstGeom prst="rect">
            <a:avLst/>
          </a:prstGeom>
        </p:spPr>
      </p:pic>
      <p:pic>
        <p:nvPicPr>
          <p:cNvPr id="15" name="Graphic 14">
            <a:extLst>
              <a:ext uri="{FF2B5EF4-FFF2-40B4-BE49-F238E27FC236}">
                <a16:creationId xmlns:a16="http://schemas.microsoft.com/office/drawing/2014/main" id="{551E54F5-4A7D-4D54-BF86-6FCE1BC29BA7}"/>
              </a:ext>
            </a:extLst>
          </p:cNvPr>
          <p:cNvPicPr>
            <a:picLocks noChangeAspect="1"/>
          </p:cNvPicPr>
          <p:nvPr userDrawn="1"/>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791669" y="2798555"/>
            <a:ext cx="760034" cy="760034"/>
          </a:xfrm>
          <a:prstGeom prst="rect">
            <a:avLst/>
          </a:prstGeom>
        </p:spPr>
      </p:pic>
      <p:pic>
        <p:nvPicPr>
          <p:cNvPr id="20" name="Graphic 19">
            <a:extLst>
              <a:ext uri="{FF2B5EF4-FFF2-40B4-BE49-F238E27FC236}">
                <a16:creationId xmlns:a16="http://schemas.microsoft.com/office/drawing/2014/main" id="{4B1F42F0-253D-4D7C-910C-9305E9B612FD}"/>
              </a:ext>
            </a:extLst>
          </p:cNvPr>
          <p:cNvPicPr>
            <a:picLocks noChangeAspect="1"/>
          </p:cNvPicPr>
          <p:nvPr userDrawn="1"/>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0075874" y="2798555"/>
            <a:ext cx="760034" cy="760034"/>
          </a:xfrm>
          <a:prstGeom prst="rect">
            <a:avLst/>
          </a:prstGeom>
        </p:spPr>
      </p:pic>
      <p:pic>
        <p:nvPicPr>
          <p:cNvPr id="50" name="Graphic 49">
            <a:extLst>
              <a:ext uri="{FF2B5EF4-FFF2-40B4-BE49-F238E27FC236}">
                <a16:creationId xmlns:a16="http://schemas.microsoft.com/office/drawing/2014/main" id="{18C3C4C7-BCA6-40A1-A61A-CC7CBC9BA961}"/>
              </a:ext>
            </a:extLst>
          </p:cNvPr>
          <p:cNvPicPr>
            <a:picLocks noChangeAspect="1"/>
          </p:cNvPicPr>
          <p:nvPr userDrawn="1"/>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5507464" y="2779505"/>
            <a:ext cx="760034" cy="760034"/>
          </a:xfrm>
          <a:prstGeom prst="rect">
            <a:avLst/>
          </a:prstGeom>
        </p:spPr>
      </p:pic>
      <p:cxnSp>
        <p:nvCxnSpPr>
          <p:cNvPr id="19" name="Straight Connector 18">
            <a:extLst>
              <a:ext uri="{FF2B5EF4-FFF2-40B4-BE49-F238E27FC236}">
                <a16:creationId xmlns:a16="http://schemas.microsoft.com/office/drawing/2014/main" id="{B1298D07-C6D5-44F3-95AB-BD602D8D24F9}"/>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22" name="Graphic 21">
            <a:extLst>
              <a:ext uri="{FF2B5EF4-FFF2-40B4-BE49-F238E27FC236}">
                <a16:creationId xmlns:a16="http://schemas.microsoft.com/office/drawing/2014/main" id="{5D0D9C79-7BAF-4040-8366-E804E2943CDF}"/>
              </a:ext>
            </a:extLst>
          </p:cNvPr>
          <p:cNvPicPr>
            <a:picLocks noChangeAspect="1"/>
          </p:cNvPicPr>
          <p:nvPr userDrawn="1"/>
        </p:nvPicPr>
        <p:blipFill>
          <a:blip r:embed="rId13">
            <a:extLst>
              <a:ext uri="{96DAC541-7B7A-43D3-8B79-37D633B846F1}">
                <asvg:svgBlip xmlns:asvg="http://schemas.microsoft.com/office/drawing/2016/SVG/main" r:embed="rId14"/>
              </a:ext>
            </a:extLst>
          </a:blip>
          <a:stretch>
            <a:fillRect/>
          </a:stretch>
        </p:blipFill>
        <p:spPr>
          <a:xfrm>
            <a:off x="10622025" y="6313244"/>
            <a:ext cx="1059076" cy="330718"/>
          </a:xfrm>
          <a:prstGeom prst="rect">
            <a:avLst/>
          </a:prstGeom>
        </p:spPr>
      </p:pic>
      <p:sp>
        <p:nvSpPr>
          <p:cNvPr id="28" name="Slide Number Placeholder 6">
            <a:extLst>
              <a:ext uri="{FF2B5EF4-FFF2-40B4-BE49-F238E27FC236}">
                <a16:creationId xmlns:a16="http://schemas.microsoft.com/office/drawing/2014/main" id="{6F8B5DF7-4E33-4363-A243-3363920EADDD}"/>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86962346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2.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056333D-029F-4CEB-88B9-16360ABAFEA8}"/>
              </a:ext>
            </a:extLst>
          </p:cNvPr>
          <p:cNvGraphicFramePr>
            <a:graphicFrameLocks noChangeAspect="1"/>
          </p:cNvGraphicFramePr>
          <p:nvPr userDrawn="1">
            <p:custDataLst>
              <p:tags r:id="rId15"/>
            </p:custDataLst>
            <p:extLst>
              <p:ext uri="{D42A27DB-BD31-4B8C-83A1-F6EECF244321}">
                <p14:modId xmlns:p14="http://schemas.microsoft.com/office/powerpoint/2010/main" val="3073826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6" imgW="360" imgH="360" progId="TCLayout.ActiveDocument.1">
                  <p:embed/>
                </p:oleObj>
              </mc:Choice>
              <mc:Fallback>
                <p:oleObj name="think-cell Slide" r:id="rId16" imgW="360" imgH="360" progId="TCLayout.ActiveDocument.1">
                  <p:embed/>
                  <p:pic>
                    <p:nvPicPr>
                      <p:cNvPr id="2" name="Object 1" hidden="1">
                        <a:extLst>
                          <a:ext uri="{FF2B5EF4-FFF2-40B4-BE49-F238E27FC236}">
                            <a16:creationId xmlns:a16="http://schemas.microsoft.com/office/drawing/2014/main" id="{1056333D-029F-4CEB-88B9-16360ABAFEA8}"/>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3" name="Text Placeholder 2">
            <a:extLst>
              <a:ext uri="{FF2B5EF4-FFF2-40B4-BE49-F238E27FC236}">
                <a16:creationId xmlns:a16="http://schemas.microsoft.com/office/drawing/2014/main" id="{289887C6-213D-4EC5-B285-03E99B65176A}"/>
              </a:ext>
            </a:extLst>
          </p:cNvPr>
          <p:cNvSpPr>
            <a:spLocks noGrp="1"/>
          </p:cNvSpPr>
          <p:nvPr>
            <p:ph type="body" idx="1"/>
          </p:nvPr>
        </p:nvSpPr>
        <p:spPr>
          <a:xfrm>
            <a:off x="838200" y="1825625"/>
            <a:ext cx="10515600" cy="1456809"/>
          </a:xfrm>
          <a:prstGeom prst="rect">
            <a:avLst/>
          </a:prstGeom>
        </p:spPr>
        <p:txBody>
          <a:bodyPr vert="horz" lIns="91440" tIns="45720" rIns="91440" bIns="4572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fr-FR" dirty="0"/>
          </a:p>
        </p:txBody>
      </p:sp>
      <p:sp>
        <p:nvSpPr>
          <p:cNvPr id="4" name="Slide Number Placeholder 3">
            <a:extLst>
              <a:ext uri="{FF2B5EF4-FFF2-40B4-BE49-F238E27FC236}">
                <a16:creationId xmlns:a16="http://schemas.microsoft.com/office/drawing/2014/main" id="{D80826BC-C5B4-4A35-8F7C-44247491A7F4}"/>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879F475-59B1-4993-848A-C2B683DE9AF5}" type="slidenum">
              <a:rPr lang="en-IN" smtClean="0"/>
              <a:t>‹#›</a:t>
            </a:fld>
            <a:endParaRPr lang="en-IN"/>
          </a:p>
        </p:txBody>
      </p:sp>
    </p:spTree>
    <p:extLst>
      <p:ext uri="{BB962C8B-B14F-4D97-AF65-F5344CB8AC3E}">
        <p14:creationId xmlns:p14="http://schemas.microsoft.com/office/powerpoint/2010/main" val="2597032904"/>
      </p:ext>
    </p:extLst>
  </p:cSld>
  <p:clrMap bg1="lt1" tx1="dk1" bg2="lt2" tx2="dk2" accent1="accent1" accent2="accent2" accent3="accent3" accent4="accent4" accent5="accent5" accent6="accent6" hlink="hlink" folHlink="folHlink"/>
  <p:sldLayoutIdLst>
    <p:sldLayoutId id="2147483649" r:id="rId1"/>
    <p:sldLayoutId id="2147483659" r:id="rId2"/>
    <p:sldLayoutId id="2147483665" r:id="rId3"/>
    <p:sldLayoutId id="2147483652" r:id="rId4"/>
    <p:sldLayoutId id="2147483655" r:id="rId5"/>
    <p:sldLayoutId id="2147483650" r:id="rId6"/>
    <p:sldLayoutId id="2147483658" r:id="rId7"/>
    <p:sldLayoutId id="2147483651" r:id="rId8"/>
    <p:sldLayoutId id="2147483653" r:id="rId9"/>
    <p:sldLayoutId id="2147483654" r:id="rId10"/>
    <p:sldLayoutId id="2147483657" r:id="rId11"/>
    <p:sldLayoutId id="2147483664" r:id="rId12"/>
    <p:sldLayoutId id="2147483666" r:id="rId13"/>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21.jp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8.bin"/><Relationship Id="rId7" Type="http://schemas.openxmlformats.org/officeDocument/2006/relationships/image" Target="../media/image34.png"/><Relationship Id="rId2" Type="http://schemas.openxmlformats.org/officeDocument/2006/relationships/slideLayout" Target="../slideLayouts/slideLayout2.xml"/><Relationship Id="rId1" Type="http://schemas.openxmlformats.org/officeDocument/2006/relationships/tags" Target="../tags/tag9.xml"/><Relationship Id="rId6" Type="http://schemas.openxmlformats.org/officeDocument/2006/relationships/image" Target="../media/image33.svg"/><Relationship Id="rId5" Type="http://schemas.openxmlformats.org/officeDocument/2006/relationships/image" Target="../media/image32.png"/><Relationship Id="rId4" Type="http://schemas.openxmlformats.org/officeDocument/2006/relationships/image" Target="../media/image22.emf"/></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9.bin"/><Relationship Id="rId7" Type="http://schemas.openxmlformats.org/officeDocument/2006/relationships/image" Target="../media/image35.jpeg"/><Relationship Id="rId2" Type="http://schemas.openxmlformats.org/officeDocument/2006/relationships/slideLayout" Target="../slideLayouts/slideLayout2.xml"/><Relationship Id="rId1" Type="http://schemas.openxmlformats.org/officeDocument/2006/relationships/tags" Target="../tags/tag10.xml"/><Relationship Id="rId6" Type="http://schemas.openxmlformats.org/officeDocument/2006/relationships/image" Target="../media/image33.svg"/><Relationship Id="rId5" Type="http://schemas.openxmlformats.org/officeDocument/2006/relationships/image" Target="../media/image32.png"/><Relationship Id="rId4" Type="http://schemas.openxmlformats.org/officeDocument/2006/relationships/image" Target="../media/image22.emf"/></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10.bin"/><Relationship Id="rId7" Type="http://schemas.openxmlformats.org/officeDocument/2006/relationships/image" Target="../media/image36.png"/><Relationship Id="rId2" Type="http://schemas.openxmlformats.org/officeDocument/2006/relationships/slideLayout" Target="../slideLayouts/slideLayout2.xml"/><Relationship Id="rId1" Type="http://schemas.openxmlformats.org/officeDocument/2006/relationships/tags" Target="../tags/tag11.xml"/><Relationship Id="rId6" Type="http://schemas.openxmlformats.org/officeDocument/2006/relationships/image" Target="../media/image33.svg"/><Relationship Id="rId5" Type="http://schemas.openxmlformats.org/officeDocument/2006/relationships/image" Target="../media/image32.png"/><Relationship Id="rId4" Type="http://schemas.openxmlformats.org/officeDocument/2006/relationships/image" Target="../media/image22.emf"/></Relationships>
</file>

<file path=ppt/slides/_rels/slide13.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11.bin"/><Relationship Id="rId7" Type="http://schemas.openxmlformats.org/officeDocument/2006/relationships/image" Target="../media/image39.jpeg"/><Relationship Id="rId2" Type="http://schemas.openxmlformats.org/officeDocument/2006/relationships/slideLayout" Target="../slideLayouts/slideLayout2.xml"/><Relationship Id="rId1" Type="http://schemas.openxmlformats.org/officeDocument/2006/relationships/tags" Target="../tags/tag12.xml"/><Relationship Id="rId6" Type="http://schemas.openxmlformats.org/officeDocument/2006/relationships/image" Target="../media/image38.svg"/><Relationship Id="rId5" Type="http://schemas.openxmlformats.org/officeDocument/2006/relationships/image" Target="../media/image37.png"/><Relationship Id="rId4" Type="http://schemas.openxmlformats.org/officeDocument/2006/relationships/image" Target="../media/image22.emf"/></Relationships>
</file>

<file path=ppt/slides/_rels/slide15.xml.rels><?xml version="1.0" encoding="UTF-8" standalone="yes"?>
<Relationships xmlns="http://schemas.openxmlformats.org/package/2006/relationships"><Relationship Id="rId3" Type="http://schemas.openxmlformats.org/officeDocument/2006/relationships/oleObject" Target="../embeddings/oleObject12.bin"/><Relationship Id="rId7" Type="http://schemas.openxmlformats.org/officeDocument/2006/relationships/image" Target="../media/image40.jpeg"/><Relationship Id="rId2" Type="http://schemas.openxmlformats.org/officeDocument/2006/relationships/slideLayout" Target="../slideLayouts/slideLayout2.xml"/><Relationship Id="rId1" Type="http://schemas.openxmlformats.org/officeDocument/2006/relationships/tags" Target="../tags/tag13.xml"/><Relationship Id="rId6" Type="http://schemas.openxmlformats.org/officeDocument/2006/relationships/image" Target="../media/image38.svg"/><Relationship Id="rId5" Type="http://schemas.openxmlformats.org/officeDocument/2006/relationships/image" Target="../media/image37.png"/><Relationship Id="rId4" Type="http://schemas.openxmlformats.org/officeDocument/2006/relationships/image" Target="../media/image22.emf"/></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13.bin"/><Relationship Id="rId7" Type="http://schemas.openxmlformats.org/officeDocument/2006/relationships/image" Target="../media/image41.png"/><Relationship Id="rId2" Type="http://schemas.openxmlformats.org/officeDocument/2006/relationships/slideLayout" Target="../slideLayouts/slideLayout2.xml"/><Relationship Id="rId1" Type="http://schemas.openxmlformats.org/officeDocument/2006/relationships/tags" Target="../tags/tag14.xml"/><Relationship Id="rId6" Type="http://schemas.openxmlformats.org/officeDocument/2006/relationships/image" Target="../media/image38.svg"/><Relationship Id="rId5" Type="http://schemas.openxmlformats.org/officeDocument/2006/relationships/image" Target="../media/image37.png"/><Relationship Id="rId4" Type="http://schemas.openxmlformats.org/officeDocument/2006/relationships/image" Target="../media/image22.emf"/></Relationships>
</file>

<file path=ppt/slides/_rels/slide17.xml.rels><?xml version="1.0" encoding="UTF-8" standalone="yes"?>
<Relationships xmlns="http://schemas.openxmlformats.org/package/2006/relationships"><Relationship Id="rId3" Type="http://schemas.openxmlformats.org/officeDocument/2006/relationships/image" Target="../media/image43.svg"/><Relationship Id="rId2" Type="http://schemas.openxmlformats.org/officeDocument/2006/relationships/image" Target="../media/image42.png"/><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Layout" Target="../slideLayouts/slideLayout2.xml"/><Relationship Id="rId1" Type="http://schemas.openxmlformats.org/officeDocument/2006/relationships/tags" Target="../tags/tag15.xml"/><Relationship Id="rId6" Type="http://schemas.openxmlformats.org/officeDocument/2006/relationships/image" Target="../media/image43.svg"/><Relationship Id="rId5" Type="http://schemas.openxmlformats.org/officeDocument/2006/relationships/image" Target="../media/image42.png"/><Relationship Id="rId4" Type="http://schemas.openxmlformats.org/officeDocument/2006/relationships/image" Target="../media/image22.emf"/></Relationships>
</file>

<file path=ppt/slides/_rels/slide19.xml.rels><?xml version="1.0" encoding="UTF-8" standalone="yes"?>
<Relationships xmlns="http://schemas.openxmlformats.org/package/2006/relationships"><Relationship Id="rId3" Type="http://schemas.openxmlformats.org/officeDocument/2006/relationships/image" Target="../media/image45.svg"/><Relationship Id="rId2" Type="http://schemas.openxmlformats.org/officeDocument/2006/relationships/image" Target="../media/image44.png"/><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2.xml"/><Relationship Id="rId1" Type="http://schemas.openxmlformats.org/officeDocument/2006/relationships/tags" Target="../tags/tag3.xml"/><Relationship Id="rId5" Type="http://schemas.openxmlformats.org/officeDocument/2006/relationships/image" Target="../media/image23.png"/><Relationship Id="rId4" Type="http://schemas.openxmlformats.org/officeDocument/2006/relationships/image" Target="../media/image22.emf"/></Relationships>
</file>

<file path=ppt/slides/_rels/slide20.xml.rels><?xml version="1.0" encoding="UTF-8" standalone="yes"?>
<Relationships xmlns="http://schemas.openxmlformats.org/package/2006/relationships"><Relationship Id="rId3" Type="http://schemas.openxmlformats.org/officeDocument/2006/relationships/oleObject" Target="../embeddings/oleObject15.bin"/><Relationship Id="rId7" Type="http://schemas.openxmlformats.org/officeDocument/2006/relationships/image" Target="../media/image46.jpeg"/><Relationship Id="rId2" Type="http://schemas.openxmlformats.org/officeDocument/2006/relationships/slideLayout" Target="../slideLayouts/slideLayout2.xml"/><Relationship Id="rId1" Type="http://schemas.openxmlformats.org/officeDocument/2006/relationships/tags" Target="../tags/tag16.xml"/><Relationship Id="rId6" Type="http://schemas.openxmlformats.org/officeDocument/2006/relationships/image" Target="../media/image45.svg"/><Relationship Id="rId5" Type="http://schemas.openxmlformats.org/officeDocument/2006/relationships/image" Target="../media/image44.png"/><Relationship Id="rId4" Type="http://schemas.openxmlformats.org/officeDocument/2006/relationships/image" Target="../media/image22.emf"/></Relationships>
</file>

<file path=ppt/slides/_rels/slide21.xml.rels><?xml version="1.0" encoding="UTF-8" standalone="yes"?>
<Relationships xmlns="http://schemas.openxmlformats.org/package/2006/relationships"><Relationship Id="rId3" Type="http://schemas.openxmlformats.org/officeDocument/2006/relationships/oleObject" Target="../embeddings/oleObject16.bin"/><Relationship Id="rId7" Type="http://schemas.openxmlformats.org/officeDocument/2006/relationships/hyperlink" Target="https://github.com/rohita-ch/Bootcamp" TargetMode="External"/><Relationship Id="rId2" Type="http://schemas.openxmlformats.org/officeDocument/2006/relationships/slideLayout" Target="../slideLayouts/slideLayout2.xml"/><Relationship Id="rId1" Type="http://schemas.openxmlformats.org/officeDocument/2006/relationships/tags" Target="../tags/tag17.xml"/><Relationship Id="rId6" Type="http://schemas.openxmlformats.org/officeDocument/2006/relationships/image" Target="../media/image48.svg"/><Relationship Id="rId5" Type="http://schemas.openxmlformats.org/officeDocument/2006/relationships/image" Target="../media/image47.png"/><Relationship Id="rId4" Type="http://schemas.openxmlformats.org/officeDocument/2006/relationships/image" Target="../media/image22.emf"/></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3" Type="http://schemas.openxmlformats.org/officeDocument/2006/relationships/image" Target="../media/image25.svg"/><Relationship Id="rId2" Type="http://schemas.openxmlformats.org/officeDocument/2006/relationships/image" Target="../media/image24.png"/><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3.bin"/><Relationship Id="rId7" Type="http://schemas.openxmlformats.org/officeDocument/2006/relationships/image" Target="../media/image26.jpeg"/><Relationship Id="rId2" Type="http://schemas.openxmlformats.org/officeDocument/2006/relationships/slideLayout" Target="../slideLayouts/slideLayout2.xml"/><Relationship Id="rId1" Type="http://schemas.openxmlformats.org/officeDocument/2006/relationships/tags" Target="../tags/tag4.xml"/><Relationship Id="rId6" Type="http://schemas.openxmlformats.org/officeDocument/2006/relationships/image" Target="../media/image25.svg"/><Relationship Id="rId5" Type="http://schemas.openxmlformats.org/officeDocument/2006/relationships/image" Target="../media/image24.png"/><Relationship Id="rId4" Type="http://schemas.openxmlformats.org/officeDocument/2006/relationships/image" Target="../media/image22.emf"/></Relationships>
</file>

<file path=ppt/slides/_rels/slide5.xml.rels><?xml version="1.0" encoding="UTF-8" standalone="yes"?>
<Relationships xmlns="http://schemas.openxmlformats.org/package/2006/relationships"><Relationship Id="rId8" Type="http://schemas.openxmlformats.org/officeDocument/2006/relationships/image" Target="../media/image28.png"/><Relationship Id="rId3" Type="http://schemas.openxmlformats.org/officeDocument/2006/relationships/oleObject" Target="../embeddings/oleObject4.bin"/><Relationship Id="rId7" Type="http://schemas.openxmlformats.org/officeDocument/2006/relationships/image" Target="../media/image27.png"/><Relationship Id="rId2" Type="http://schemas.openxmlformats.org/officeDocument/2006/relationships/slideLayout" Target="../slideLayouts/slideLayout2.xml"/><Relationship Id="rId1" Type="http://schemas.openxmlformats.org/officeDocument/2006/relationships/tags" Target="../tags/tag5.xml"/><Relationship Id="rId6" Type="http://schemas.openxmlformats.org/officeDocument/2006/relationships/image" Target="../media/image25.svg"/><Relationship Id="rId5" Type="http://schemas.openxmlformats.org/officeDocument/2006/relationships/image" Target="../media/image24.png"/><Relationship Id="rId4" Type="http://schemas.openxmlformats.org/officeDocument/2006/relationships/image" Target="../media/image22.emf"/></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5.bin"/><Relationship Id="rId7" Type="http://schemas.openxmlformats.org/officeDocument/2006/relationships/image" Target="../media/image29.jpeg"/><Relationship Id="rId2" Type="http://schemas.openxmlformats.org/officeDocument/2006/relationships/slideLayout" Target="../slideLayouts/slideLayout2.xml"/><Relationship Id="rId1" Type="http://schemas.openxmlformats.org/officeDocument/2006/relationships/tags" Target="../tags/tag6.xml"/><Relationship Id="rId6" Type="http://schemas.openxmlformats.org/officeDocument/2006/relationships/image" Target="../media/image25.svg"/><Relationship Id="rId5" Type="http://schemas.openxmlformats.org/officeDocument/2006/relationships/image" Target="../media/image24.png"/><Relationship Id="rId4" Type="http://schemas.openxmlformats.org/officeDocument/2006/relationships/image" Target="../media/image22.emf"/></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6.bin"/><Relationship Id="rId7" Type="http://schemas.openxmlformats.org/officeDocument/2006/relationships/image" Target="../media/image30.jpeg"/><Relationship Id="rId2" Type="http://schemas.openxmlformats.org/officeDocument/2006/relationships/slideLayout" Target="../slideLayouts/slideLayout2.xml"/><Relationship Id="rId1" Type="http://schemas.openxmlformats.org/officeDocument/2006/relationships/tags" Target="../tags/tag7.xml"/><Relationship Id="rId6" Type="http://schemas.openxmlformats.org/officeDocument/2006/relationships/image" Target="../media/image25.svg"/><Relationship Id="rId5" Type="http://schemas.openxmlformats.org/officeDocument/2006/relationships/image" Target="../media/image24.png"/><Relationship Id="rId4" Type="http://schemas.openxmlformats.org/officeDocument/2006/relationships/image" Target="../media/image22.emf"/></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7.bin"/><Relationship Id="rId7" Type="http://schemas.openxmlformats.org/officeDocument/2006/relationships/image" Target="../media/image31.png"/><Relationship Id="rId2" Type="http://schemas.openxmlformats.org/officeDocument/2006/relationships/slideLayout" Target="../slideLayouts/slideLayout2.xml"/><Relationship Id="rId1" Type="http://schemas.openxmlformats.org/officeDocument/2006/relationships/tags" Target="../tags/tag8.xml"/><Relationship Id="rId6" Type="http://schemas.openxmlformats.org/officeDocument/2006/relationships/image" Target="../media/image25.svg"/><Relationship Id="rId5" Type="http://schemas.openxmlformats.org/officeDocument/2006/relationships/image" Target="../media/image24.png"/><Relationship Id="rId4" Type="http://schemas.openxmlformats.org/officeDocument/2006/relationships/image" Target="../media/image22.emf"/></Relationships>
</file>

<file path=ppt/slides/_rels/slide9.xml.rels><?xml version="1.0" encoding="UTF-8" standalone="yes"?>
<Relationships xmlns="http://schemas.openxmlformats.org/package/2006/relationships"><Relationship Id="rId3" Type="http://schemas.openxmlformats.org/officeDocument/2006/relationships/image" Target="../media/image33.svg"/><Relationship Id="rId2" Type="http://schemas.openxmlformats.org/officeDocument/2006/relationships/image" Target="../media/image32.png"/><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0C37A4A8-A3C7-407F-B123-88E2E165C827}"/>
              </a:ext>
            </a:extLst>
          </p:cNvPr>
          <p:cNvSpPr>
            <a:spLocks noGrp="1"/>
          </p:cNvSpPr>
          <p:nvPr>
            <p:ph type="body" sz="quarter" idx="12"/>
          </p:nvPr>
        </p:nvSpPr>
        <p:spPr>
          <a:xfrm>
            <a:off x="684269" y="3003335"/>
            <a:ext cx="10525125" cy="1200329"/>
          </a:xfrm>
        </p:spPr>
        <p:txBody>
          <a:bodyPr anchor="b">
            <a:spAutoFit/>
          </a:bodyPr>
          <a:lstStyle/>
          <a:p>
            <a:r>
              <a:rPr lang="en-US" sz="4000" dirty="0"/>
              <a:t>Shell Bootcamp 2024</a:t>
            </a:r>
            <a:br>
              <a:rPr lang="en-US" sz="4000" dirty="0"/>
            </a:br>
            <a:r>
              <a:rPr lang="en-US" sz="4000" dirty="0"/>
              <a:t>Reflections for Week 1</a:t>
            </a:r>
          </a:p>
        </p:txBody>
      </p:sp>
      <p:sp>
        <p:nvSpPr>
          <p:cNvPr id="12" name="TextBox 11">
            <a:extLst>
              <a:ext uri="{FF2B5EF4-FFF2-40B4-BE49-F238E27FC236}">
                <a16:creationId xmlns:a16="http://schemas.microsoft.com/office/drawing/2014/main" id="{8A24547F-8A92-CDC5-A578-3733390534F2}"/>
              </a:ext>
            </a:extLst>
          </p:cNvPr>
          <p:cNvSpPr txBox="1"/>
          <p:nvPr/>
        </p:nvSpPr>
        <p:spPr>
          <a:xfrm>
            <a:off x="684269" y="4795291"/>
            <a:ext cx="8299182" cy="523220"/>
          </a:xfrm>
          <a:prstGeom prst="rect">
            <a:avLst/>
          </a:prstGeom>
          <a:noFill/>
        </p:spPr>
        <p:txBody>
          <a:bodyPr wrap="square" rtlCol="0">
            <a:spAutoFit/>
          </a:bodyPr>
          <a:lstStyle/>
          <a:p>
            <a:r>
              <a:rPr lang="en-US" sz="2800" b="1" dirty="0">
                <a:solidFill>
                  <a:schemeClr val="bg1"/>
                </a:solidFill>
              </a:rPr>
              <a:t>Rohita Chakraborty</a:t>
            </a:r>
          </a:p>
        </p:txBody>
      </p:sp>
      <p:sp>
        <p:nvSpPr>
          <p:cNvPr id="13" name="TextBox 12">
            <a:extLst>
              <a:ext uri="{FF2B5EF4-FFF2-40B4-BE49-F238E27FC236}">
                <a16:creationId xmlns:a16="http://schemas.microsoft.com/office/drawing/2014/main" id="{C48F8DD6-A1B3-8126-FAC3-218B712C7FFB}"/>
              </a:ext>
            </a:extLst>
          </p:cNvPr>
          <p:cNvSpPr txBox="1"/>
          <p:nvPr/>
        </p:nvSpPr>
        <p:spPr>
          <a:xfrm>
            <a:off x="759976" y="5510636"/>
            <a:ext cx="7469623" cy="523220"/>
          </a:xfrm>
          <a:prstGeom prst="rect">
            <a:avLst/>
          </a:prstGeom>
          <a:noFill/>
        </p:spPr>
        <p:txBody>
          <a:bodyPr wrap="square" rtlCol="0">
            <a:spAutoFit/>
          </a:bodyPr>
          <a:lstStyle/>
          <a:p>
            <a:r>
              <a:rPr lang="en-IN" sz="2800" b="1" dirty="0">
                <a:solidFill>
                  <a:schemeClr val="bg1"/>
                </a:solidFill>
              </a:rPr>
              <a:t>Date : 30-Aug-2024</a:t>
            </a:r>
          </a:p>
        </p:txBody>
      </p:sp>
      <p:pic>
        <p:nvPicPr>
          <p:cNvPr id="3" name="Picture 2" descr="A person with long hair wearing glasses&#10;&#10;Description automatically generated">
            <a:extLst>
              <a:ext uri="{FF2B5EF4-FFF2-40B4-BE49-F238E27FC236}">
                <a16:creationId xmlns:a16="http://schemas.microsoft.com/office/drawing/2014/main" id="{DC2041A8-2E74-DA0D-58F5-DA2D3054513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983450" y="243839"/>
            <a:ext cx="2974869" cy="3857899"/>
          </a:xfrm>
          <a:prstGeom prst="rect">
            <a:avLst/>
          </a:prstGeom>
        </p:spPr>
      </p:pic>
    </p:spTree>
    <p:extLst>
      <p:ext uri="{BB962C8B-B14F-4D97-AF65-F5344CB8AC3E}">
        <p14:creationId xmlns:p14="http://schemas.microsoft.com/office/powerpoint/2010/main" val="32677752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38700686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1 | Relevance for Shell</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0</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83133" y="2401369"/>
            <a:ext cx="5653806" cy="2995487"/>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r>
              <a:rPr lang="en-US" sz="2000" dirty="0"/>
              <a:t>Attitude and mindset – </a:t>
            </a:r>
          </a:p>
          <a:p>
            <a:pPr marL="0" indent="0" algn="just">
              <a:buNone/>
            </a:pPr>
            <a:r>
              <a:rPr lang="en-US" sz="2000" dirty="0"/>
              <a:t>According to me, Shell implements the core concept of treating everyone with respect and having a learner mindset.</a:t>
            </a:r>
          </a:p>
          <a:p>
            <a:pPr marL="0" indent="0" algn="just">
              <a:buNone/>
            </a:pPr>
            <a:endParaRPr lang="en-US" sz="2000" dirty="0"/>
          </a:p>
          <a:p>
            <a:pPr marL="0" indent="0" algn="just">
              <a:buNone/>
            </a:pPr>
            <a:r>
              <a:rPr lang="en-US" sz="2000" dirty="0"/>
              <a:t>According to me, Shell benefits from this because having a positive attitude and a growth mindset is very important for innovation in workplace and the success of the company</a:t>
            </a:r>
          </a:p>
          <a:p>
            <a:pPr marL="0" indent="0" algn="just">
              <a:buNone/>
            </a:pPr>
            <a:endParaRPr lang="en-US" sz="2000"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5" name="Graphic 4" descr="User network outline">
            <a:extLst>
              <a:ext uri="{FF2B5EF4-FFF2-40B4-BE49-F238E27FC236}">
                <a16:creationId xmlns:a16="http://schemas.microsoft.com/office/drawing/2014/main" id="{0916C17C-12F9-BFD4-9A8B-40B3CFCA8C0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46359" y="120879"/>
            <a:ext cx="1180641" cy="1180641"/>
          </a:xfrm>
          <a:prstGeom prst="rect">
            <a:avLst/>
          </a:prstGeom>
        </p:spPr>
      </p:pic>
      <p:pic>
        <p:nvPicPr>
          <p:cNvPr id="4098" name="Picture 2" descr="8 Growth Mindset Ways to Develop Mental Strength">
            <a:extLst>
              <a:ext uri="{FF2B5EF4-FFF2-40B4-BE49-F238E27FC236}">
                <a16:creationId xmlns:a16="http://schemas.microsoft.com/office/drawing/2014/main" id="{16C968F3-8199-64BA-FAE9-27B7EBB0922D}"/>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344392" y="1904496"/>
            <a:ext cx="3463519" cy="39892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7151237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20362998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2 | Relevance for Shell</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1</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39883" y="2259129"/>
            <a:ext cx="5653806" cy="3279967"/>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r>
              <a:rPr lang="en-US" sz="2000" dirty="0"/>
              <a:t>Neuroplasticity - </a:t>
            </a:r>
          </a:p>
          <a:p>
            <a:pPr marL="0" indent="0" algn="just">
              <a:buNone/>
            </a:pPr>
            <a:r>
              <a:rPr lang="en-US" sz="2000" dirty="0"/>
              <a:t>According to me, Shell implements neuroplasticity by teaching the importance of connecting and networking with people.</a:t>
            </a:r>
          </a:p>
          <a:p>
            <a:pPr marL="0" indent="0" algn="just">
              <a:buNone/>
            </a:pPr>
            <a:endParaRPr lang="en-US" sz="2000" dirty="0"/>
          </a:p>
          <a:p>
            <a:pPr marL="0" indent="0" algn="just">
              <a:buNone/>
            </a:pPr>
            <a:r>
              <a:rPr lang="en-US" sz="2000" dirty="0"/>
              <a:t>According to me, Shell benefits from networking within the company because it helps to understand the strengths of different individuals and how their skills can be beneficial in different sectors of the company.</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5" name="Graphic 4" descr="User network outline">
            <a:extLst>
              <a:ext uri="{FF2B5EF4-FFF2-40B4-BE49-F238E27FC236}">
                <a16:creationId xmlns:a16="http://schemas.microsoft.com/office/drawing/2014/main" id="{0916C17C-12F9-BFD4-9A8B-40B3CFCA8C0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46359" y="120879"/>
            <a:ext cx="1180641" cy="1180641"/>
          </a:xfrm>
          <a:prstGeom prst="rect">
            <a:avLst/>
          </a:prstGeom>
        </p:spPr>
      </p:pic>
      <p:pic>
        <p:nvPicPr>
          <p:cNvPr id="5122" name="Picture 2" descr="Meeting people is easy: networking tips for startup founders ...">
            <a:extLst>
              <a:ext uri="{FF2B5EF4-FFF2-40B4-BE49-F238E27FC236}">
                <a16:creationId xmlns:a16="http://schemas.microsoft.com/office/drawing/2014/main" id="{5F7E537B-ADFA-EF9C-058E-109BF0C8356C}"/>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510655" y="2135051"/>
            <a:ext cx="5106068" cy="340404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7980567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16634469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3 | Relevance for Shell</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2</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0495" y="2299769"/>
            <a:ext cx="5653806" cy="3198687"/>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r>
              <a:rPr lang="en-US" sz="2000" dirty="0"/>
              <a:t>Agile methodology - </a:t>
            </a:r>
          </a:p>
          <a:p>
            <a:pPr marL="0" indent="0" algn="just">
              <a:buNone/>
            </a:pPr>
            <a:r>
              <a:rPr lang="en-US" sz="2000" dirty="0"/>
              <a:t>According to me, Shell implements Agile methodology in different departments across the company for their work.</a:t>
            </a:r>
          </a:p>
          <a:p>
            <a:pPr marL="0" indent="0" algn="just">
              <a:buNone/>
            </a:pPr>
            <a:endParaRPr lang="en-US" sz="2000" dirty="0"/>
          </a:p>
          <a:p>
            <a:pPr marL="0" indent="0" algn="just">
              <a:buNone/>
            </a:pPr>
            <a:r>
              <a:rPr lang="en-US" sz="2000" dirty="0"/>
              <a:t>According to me, Shell benefits from this methodology because it is preferred over the waterfall methodology. It has several benefits like – improved quality, adaptability and better communication.</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5" name="Graphic 4" descr="User network outline">
            <a:extLst>
              <a:ext uri="{FF2B5EF4-FFF2-40B4-BE49-F238E27FC236}">
                <a16:creationId xmlns:a16="http://schemas.microsoft.com/office/drawing/2014/main" id="{0916C17C-12F9-BFD4-9A8B-40B3CFCA8C0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46359" y="120879"/>
            <a:ext cx="1180641" cy="1180641"/>
          </a:xfrm>
          <a:prstGeom prst="rect">
            <a:avLst/>
          </a:prstGeom>
        </p:spPr>
      </p:pic>
      <p:pic>
        <p:nvPicPr>
          <p:cNvPr id="6146" name="Picture 2" descr="What is Agile and Scrum? | Different Approaches of Agile and Scrum">
            <a:extLst>
              <a:ext uri="{FF2B5EF4-FFF2-40B4-BE49-F238E27FC236}">
                <a16:creationId xmlns:a16="http://schemas.microsoft.com/office/drawing/2014/main" id="{A5587A81-9C91-1A43-B772-E9C4B5026452}"/>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136862" y="1995083"/>
            <a:ext cx="3878580" cy="380806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636692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Challenges in implementing learning</a:t>
            </a:r>
            <a:endParaRPr lang="en-IN" sz="4000" dirty="0"/>
          </a:p>
        </p:txBody>
      </p:sp>
      <p:pic>
        <p:nvPicPr>
          <p:cNvPr id="2" name="Graphic 1" descr="Puzzle with solid fill">
            <a:extLst>
              <a:ext uri="{FF2B5EF4-FFF2-40B4-BE49-F238E27FC236}">
                <a16:creationId xmlns:a16="http://schemas.microsoft.com/office/drawing/2014/main" id="{F2FEB897-CC3D-F8EF-554F-5F219373693B}"/>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816726" y="2866221"/>
            <a:ext cx="1125557" cy="1125557"/>
          </a:xfrm>
          <a:prstGeom prst="rect">
            <a:avLst/>
          </a:prstGeom>
        </p:spPr>
      </p:pic>
    </p:spTree>
    <p:extLst>
      <p:ext uri="{BB962C8B-B14F-4D97-AF65-F5344CB8AC3E}">
        <p14:creationId xmlns:p14="http://schemas.microsoft.com/office/powerpoint/2010/main" val="265361709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18530781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Challenge faced while implementing Learning 1</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4</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r>
              <a:rPr lang="en-US" sz="2000" dirty="0"/>
              <a:t>In the beginning when we were doing group presentations, many of us were hesitant and shy. However, we grew comfortable and started embracing the learning attitude and mindset. It helped us in understanding the essential soft skills needed to communicate effectively and strive for success.</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2" name="Graphic 1" descr="Puzzle with solid fill">
            <a:extLst>
              <a:ext uri="{FF2B5EF4-FFF2-40B4-BE49-F238E27FC236}">
                <a16:creationId xmlns:a16="http://schemas.microsoft.com/office/drawing/2014/main" id="{D0FBC2C9-FE71-44D5-391E-1BAA2958F5E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63741" y="168741"/>
            <a:ext cx="1125557" cy="1125557"/>
          </a:xfrm>
          <a:prstGeom prst="rect">
            <a:avLst/>
          </a:prstGeom>
        </p:spPr>
      </p:pic>
      <p:pic>
        <p:nvPicPr>
          <p:cNvPr id="1026" name="Picture 2" descr="Simple Ways To Change Your Mindset - Shane Cradock">
            <a:extLst>
              <a:ext uri="{FF2B5EF4-FFF2-40B4-BE49-F238E27FC236}">
                <a16:creationId xmlns:a16="http://schemas.microsoft.com/office/drawing/2014/main" id="{03CFD425-04DA-E5A1-127B-729F80E3C8A7}"/>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568981" y="2024593"/>
            <a:ext cx="5014341" cy="374904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4094418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6926476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Challenge faced while implementing Learning 2</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5</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r>
              <a:rPr lang="en-US" sz="2000" dirty="0"/>
              <a:t>At the beginning, most of us did not know each other at all. However, after the end of the first day, I knew the name of all 30 of my friends in my batch and grew close to a lot of them. This helped us in developing close connections and further motivated us to get to know other colleagues as well.</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2" name="Graphic 1" descr="Puzzle with solid fill">
            <a:extLst>
              <a:ext uri="{FF2B5EF4-FFF2-40B4-BE49-F238E27FC236}">
                <a16:creationId xmlns:a16="http://schemas.microsoft.com/office/drawing/2014/main" id="{D0FBC2C9-FE71-44D5-391E-1BAA2958F5E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63741" y="168741"/>
            <a:ext cx="1125557" cy="1125557"/>
          </a:xfrm>
          <a:prstGeom prst="rect">
            <a:avLst/>
          </a:prstGeom>
        </p:spPr>
      </p:pic>
      <p:pic>
        <p:nvPicPr>
          <p:cNvPr id="2050" name="Picture 2" descr="The Importance of Link Building - Gazz Consulting">
            <a:extLst>
              <a:ext uri="{FF2B5EF4-FFF2-40B4-BE49-F238E27FC236}">
                <a16:creationId xmlns:a16="http://schemas.microsoft.com/office/drawing/2014/main" id="{F17C45BE-B37F-1B96-A3EB-906A224BE07C}"/>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532394" y="2132115"/>
            <a:ext cx="5084675" cy="353716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5914825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13276622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Challenge faced while implementing Learning 3</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6</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r>
              <a:rPr lang="en-US" sz="2000" dirty="0"/>
              <a:t>Learning about the agile methodology was a little difficult at first as it was a new topic, but it was interesting. The hands-on experience on azure dev ops helped us get a deep insight on the working of the entire agile methodology.</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2" name="Graphic 1" descr="Puzzle with solid fill">
            <a:extLst>
              <a:ext uri="{FF2B5EF4-FFF2-40B4-BE49-F238E27FC236}">
                <a16:creationId xmlns:a16="http://schemas.microsoft.com/office/drawing/2014/main" id="{D0FBC2C9-FE71-44D5-391E-1BAA2958F5E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63741" y="168741"/>
            <a:ext cx="1125557" cy="1125557"/>
          </a:xfrm>
          <a:prstGeom prst="rect">
            <a:avLst/>
          </a:prstGeom>
        </p:spPr>
      </p:pic>
      <p:pic>
        <p:nvPicPr>
          <p:cNvPr id="6" name="Picture 5">
            <a:extLst>
              <a:ext uri="{FF2B5EF4-FFF2-40B4-BE49-F238E27FC236}">
                <a16:creationId xmlns:a16="http://schemas.microsoft.com/office/drawing/2014/main" id="{1E9E9270-D2F4-9964-27C7-C186BF6FC706}"/>
              </a:ext>
            </a:extLst>
          </p:cNvPr>
          <p:cNvPicPr>
            <a:picLocks noChangeAspect="1"/>
          </p:cNvPicPr>
          <p:nvPr/>
        </p:nvPicPr>
        <p:blipFill>
          <a:blip r:embed="rId7"/>
          <a:stretch>
            <a:fillRect/>
          </a:stretch>
        </p:blipFill>
        <p:spPr>
          <a:xfrm>
            <a:off x="6524198" y="2486237"/>
            <a:ext cx="5103907" cy="2825752"/>
          </a:xfrm>
          <a:prstGeom prst="rect">
            <a:avLst/>
          </a:prstGeom>
        </p:spPr>
      </p:pic>
    </p:spTree>
    <p:extLst>
      <p:ext uri="{BB962C8B-B14F-4D97-AF65-F5344CB8AC3E}">
        <p14:creationId xmlns:p14="http://schemas.microsoft.com/office/powerpoint/2010/main" val="307020408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Action Plan</a:t>
            </a:r>
            <a:endParaRPr lang="en-IN" sz="4000" dirty="0"/>
          </a:p>
        </p:txBody>
      </p:sp>
      <p:pic>
        <p:nvPicPr>
          <p:cNvPr id="4" name="Graphic 3" descr="Steps icon">
            <a:extLst>
              <a:ext uri="{FF2B5EF4-FFF2-40B4-BE49-F238E27FC236}">
                <a16:creationId xmlns:a16="http://schemas.microsoft.com/office/drawing/2014/main" id="{B5F8A401-110E-E4BD-2FD5-DBD699116CE7}"/>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892471" y="2893076"/>
            <a:ext cx="1049813" cy="1049813"/>
          </a:xfrm>
          <a:prstGeom prst="rect">
            <a:avLst/>
          </a:prstGeom>
        </p:spPr>
      </p:pic>
    </p:spTree>
    <p:extLst>
      <p:ext uri="{BB962C8B-B14F-4D97-AF65-F5344CB8AC3E}">
        <p14:creationId xmlns:p14="http://schemas.microsoft.com/office/powerpoint/2010/main" val="1294341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5467996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My Action Plan for this Week</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8</a:t>
            </a:fld>
            <a:endParaRPr lang="en-IN" dirty="0"/>
          </a:p>
        </p:txBody>
      </p:sp>
      <p:pic>
        <p:nvPicPr>
          <p:cNvPr id="5" name="Graphic 4" descr="Steps icon">
            <a:extLst>
              <a:ext uri="{FF2B5EF4-FFF2-40B4-BE49-F238E27FC236}">
                <a16:creationId xmlns:a16="http://schemas.microsoft.com/office/drawing/2014/main" id="{B5EEB56D-B388-3B36-90D7-E1D1797C4F6C}"/>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1001613" y="206613"/>
            <a:ext cx="1049813" cy="1049813"/>
          </a:xfrm>
          <a:prstGeom prst="rect">
            <a:avLst/>
          </a:prstGeom>
        </p:spPr>
      </p:pic>
      <p:sp>
        <p:nvSpPr>
          <p:cNvPr id="18" name="Text Placeholder 25">
            <a:extLst>
              <a:ext uri="{FF2B5EF4-FFF2-40B4-BE49-F238E27FC236}">
                <a16:creationId xmlns:a16="http://schemas.microsoft.com/office/drawing/2014/main" id="{6C73795A-BE20-7075-E9C6-6F145CE60794}"/>
              </a:ext>
            </a:extLst>
          </p:cNvPr>
          <p:cNvSpPr txBox="1">
            <a:spLocks/>
          </p:cNvSpPr>
          <p:nvPr/>
        </p:nvSpPr>
        <p:spPr>
          <a:xfrm>
            <a:off x="825971" y="1963738"/>
            <a:ext cx="3060802" cy="4330640"/>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Font typeface="Arial" panose="020B0604020202020204" pitchFamily="34" charset="0"/>
              <a:buNone/>
            </a:pPr>
            <a:r>
              <a:rPr lang="en-US" sz="2000" dirty="0">
                <a:effectLst>
                  <a:outerShdw blurRad="38100" dist="38100" dir="2700000" algn="tl">
                    <a:srgbClr val="000000">
                      <a:alpha val="43137"/>
                    </a:srgbClr>
                  </a:outerShdw>
                </a:effectLst>
              </a:rPr>
              <a:t>Need to study all the materials provided to us about soft skills and learn about all the technologies that we will be learning in the bootcamp.	</a:t>
            </a:r>
          </a:p>
        </p:txBody>
      </p:sp>
      <p:sp>
        <p:nvSpPr>
          <p:cNvPr id="19" name="Text Placeholder 32">
            <a:extLst>
              <a:ext uri="{FF2B5EF4-FFF2-40B4-BE49-F238E27FC236}">
                <a16:creationId xmlns:a16="http://schemas.microsoft.com/office/drawing/2014/main" id="{A3E2F4D1-4417-E244-3DB9-A6FF5866A342}"/>
              </a:ext>
            </a:extLst>
          </p:cNvPr>
          <p:cNvSpPr txBox="1">
            <a:spLocks/>
          </p:cNvSpPr>
          <p:nvPr/>
        </p:nvSpPr>
        <p:spPr>
          <a:xfrm>
            <a:off x="4104451" y="1950811"/>
            <a:ext cx="3060802" cy="4330640"/>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Font typeface="Arial" panose="020B0604020202020204" pitchFamily="34" charset="0"/>
              <a:buNone/>
            </a:pPr>
            <a:r>
              <a:rPr lang="en-US" sz="2000" dirty="0">
                <a:effectLst>
                  <a:outerShdw blurRad="38100" dist="38100" dir="2700000" algn="tl">
                    <a:srgbClr val="000000">
                      <a:alpha val="43137"/>
                    </a:srgbClr>
                  </a:outerShdw>
                </a:effectLst>
              </a:rPr>
              <a:t>In the weekend, I will be revising soft skills and practice azure dev ops to know more about agile methodology.</a:t>
            </a:r>
          </a:p>
        </p:txBody>
      </p:sp>
      <p:sp>
        <p:nvSpPr>
          <p:cNvPr id="20" name="Text Placeholder 33">
            <a:extLst>
              <a:ext uri="{FF2B5EF4-FFF2-40B4-BE49-F238E27FC236}">
                <a16:creationId xmlns:a16="http://schemas.microsoft.com/office/drawing/2014/main" id="{3EBEB0AC-D407-44FD-A74F-90F67F3D13C3}"/>
              </a:ext>
            </a:extLst>
          </p:cNvPr>
          <p:cNvSpPr txBox="1">
            <a:spLocks/>
          </p:cNvSpPr>
          <p:nvPr/>
        </p:nvSpPr>
        <p:spPr>
          <a:xfrm>
            <a:off x="7379732" y="1945213"/>
            <a:ext cx="3060802" cy="4330640"/>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Font typeface="Arial" panose="020B0604020202020204" pitchFamily="34" charset="0"/>
              <a:buNone/>
            </a:pPr>
            <a:r>
              <a:rPr lang="en-US" sz="2000" dirty="0">
                <a:effectLst>
                  <a:outerShdw blurRad="38100" dist="38100" dir="2700000" algn="tl">
                    <a:srgbClr val="000000">
                      <a:alpha val="43137"/>
                    </a:srgbClr>
                  </a:outerShdw>
                </a:effectLst>
              </a:rPr>
              <a:t>I hope I finish all my work and learn new things which I can apply to my work here. </a:t>
            </a:r>
          </a:p>
        </p:txBody>
      </p:sp>
      <p:sp>
        <p:nvSpPr>
          <p:cNvPr id="21" name="Rectangle 20">
            <a:extLst>
              <a:ext uri="{FF2B5EF4-FFF2-40B4-BE49-F238E27FC236}">
                <a16:creationId xmlns:a16="http://schemas.microsoft.com/office/drawing/2014/main" id="{DF8FD767-7EE2-8BA3-9320-45A7293391FF}"/>
              </a:ext>
            </a:extLst>
          </p:cNvPr>
          <p:cNvSpPr/>
          <p:nvPr/>
        </p:nvSpPr>
        <p:spPr>
          <a:xfrm>
            <a:off x="825971" y="1256426"/>
            <a:ext cx="3060802" cy="613014"/>
          </a:xfrm>
          <a:prstGeom prst="rect">
            <a:avLst/>
          </a:prstGeom>
          <a:solidFill>
            <a:schemeClr val="tx1"/>
          </a:solidFill>
          <a:effectLst>
            <a:outerShdw blurRad="63500" sx="102000" sy="102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sz="2000" b="1" dirty="0"/>
              <a:t>Actions</a:t>
            </a:r>
          </a:p>
        </p:txBody>
      </p:sp>
      <p:sp>
        <p:nvSpPr>
          <p:cNvPr id="22" name="Rectangle 21">
            <a:extLst>
              <a:ext uri="{FF2B5EF4-FFF2-40B4-BE49-F238E27FC236}">
                <a16:creationId xmlns:a16="http://schemas.microsoft.com/office/drawing/2014/main" id="{9289516E-B769-4A13-DD90-39AC62DED9BD}"/>
              </a:ext>
            </a:extLst>
          </p:cNvPr>
          <p:cNvSpPr/>
          <p:nvPr/>
        </p:nvSpPr>
        <p:spPr>
          <a:xfrm>
            <a:off x="4104451" y="1256426"/>
            <a:ext cx="3060802" cy="613014"/>
          </a:xfrm>
          <a:prstGeom prst="rect">
            <a:avLst/>
          </a:prstGeom>
          <a:solidFill>
            <a:schemeClr val="tx1"/>
          </a:solidFill>
          <a:effectLst>
            <a:outerShdw blurRad="63500" sx="102000" sy="102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sz="2000" b="1" dirty="0"/>
              <a:t>Timeline</a:t>
            </a:r>
          </a:p>
        </p:txBody>
      </p:sp>
      <p:sp>
        <p:nvSpPr>
          <p:cNvPr id="23" name="Rectangle 22">
            <a:extLst>
              <a:ext uri="{FF2B5EF4-FFF2-40B4-BE49-F238E27FC236}">
                <a16:creationId xmlns:a16="http://schemas.microsoft.com/office/drawing/2014/main" id="{4461DDA7-0DFB-87EE-DF38-AA6219713C1B}"/>
              </a:ext>
            </a:extLst>
          </p:cNvPr>
          <p:cNvSpPr/>
          <p:nvPr/>
        </p:nvSpPr>
        <p:spPr>
          <a:xfrm>
            <a:off x="7379732" y="1250646"/>
            <a:ext cx="3060802" cy="613014"/>
          </a:xfrm>
          <a:prstGeom prst="rect">
            <a:avLst/>
          </a:prstGeom>
          <a:solidFill>
            <a:schemeClr val="tx1"/>
          </a:solidFill>
          <a:effectLst>
            <a:outerShdw blurRad="63500" sx="102000" sy="102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sz="2000" b="1" dirty="0"/>
              <a:t>Status</a:t>
            </a:r>
          </a:p>
        </p:txBody>
      </p:sp>
      <p:grpSp>
        <p:nvGrpSpPr>
          <p:cNvPr id="24" name="Group 23" descr="thumbs up icon">
            <a:extLst>
              <a:ext uri="{FF2B5EF4-FFF2-40B4-BE49-F238E27FC236}">
                <a16:creationId xmlns:a16="http://schemas.microsoft.com/office/drawing/2014/main" id="{DCA04876-65F9-DDA2-9E8E-9D570857B2A5}"/>
              </a:ext>
            </a:extLst>
          </p:cNvPr>
          <p:cNvGrpSpPr/>
          <p:nvPr/>
        </p:nvGrpSpPr>
        <p:grpSpPr>
          <a:xfrm>
            <a:off x="10965805" y="2219370"/>
            <a:ext cx="823913" cy="823913"/>
            <a:chOff x="744537" y="2086166"/>
            <a:chExt cx="823913" cy="823913"/>
          </a:xfrm>
          <a:solidFill>
            <a:schemeClr val="bg1"/>
          </a:solidFill>
        </p:grpSpPr>
        <p:sp>
          <p:nvSpPr>
            <p:cNvPr id="25" name="Oval 68">
              <a:extLst>
                <a:ext uri="{FF2B5EF4-FFF2-40B4-BE49-F238E27FC236}">
                  <a16:creationId xmlns:a16="http://schemas.microsoft.com/office/drawing/2014/main" id="{3A38CCAC-78C9-81D4-1E36-CB51C7166169}"/>
                </a:ext>
              </a:extLst>
            </p:cNvPr>
            <p:cNvSpPr>
              <a:spLocks noChangeArrowheads="1"/>
            </p:cNvSpPr>
            <p:nvPr/>
          </p:nvSpPr>
          <p:spPr bwMode="auto">
            <a:xfrm>
              <a:off x="744537" y="2086166"/>
              <a:ext cx="823913" cy="823913"/>
            </a:xfrm>
            <a:prstGeom prst="ellipse">
              <a:avLst/>
            </a:prstGeom>
            <a:grpFill/>
            <a:ln>
              <a:noFill/>
            </a:ln>
            <a:extLst>
              <a:ext uri="{91240B29-F687-4F45-9708-019B960494DF}">
                <a14:hiddenLine xmlns:a14="http://schemas.microsoft.com/office/drawing/2010/main" w="57150">
                  <a:solidFill>
                    <a:srgbClr val="000000"/>
                  </a:solidFill>
                  <a:round/>
                  <a:headEnd/>
                  <a:tailEnd/>
                </a14:hiddenLine>
              </a:ext>
            </a:extLst>
          </p:spPr>
          <p:txBody>
            <a:bodyPr/>
            <a:lstStyle>
              <a:lvl1pPr>
                <a:defRPr>
                  <a:solidFill>
                    <a:schemeClr val="tx1"/>
                  </a:solidFill>
                  <a:latin typeface="Open Sans Light" pitchFamily="34" charset="0"/>
                </a:defRPr>
              </a:lvl1pPr>
              <a:lvl2pPr marL="742950" indent="-285750">
                <a:defRPr>
                  <a:solidFill>
                    <a:schemeClr val="tx1"/>
                  </a:solidFill>
                  <a:latin typeface="Open Sans Light" pitchFamily="34" charset="0"/>
                </a:defRPr>
              </a:lvl2pPr>
              <a:lvl3pPr marL="1143000" indent="-228600">
                <a:defRPr>
                  <a:solidFill>
                    <a:schemeClr val="tx1"/>
                  </a:solidFill>
                  <a:latin typeface="Open Sans Light" pitchFamily="34" charset="0"/>
                </a:defRPr>
              </a:lvl3pPr>
              <a:lvl4pPr marL="1600200" indent="-228600">
                <a:defRPr>
                  <a:solidFill>
                    <a:schemeClr val="tx1"/>
                  </a:solidFill>
                  <a:latin typeface="Open Sans Light" pitchFamily="34" charset="0"/>
                </a:defRPr>
              </a:lvl4pPr>
              <a:lvl5pPr marL="2057400" indent="-228600">
                <a:defRPr>
                  <a:solidFill>
                    <a:schemeClr val="tx1"/>
                  </a:solidFill>
                  <a:latin typeface="Open Sans Light" pitchFamily="34" charset="0"/>
                </a:defRPr>
              </a:lvl5pPr>
              <a:lvl6pPr marL="2514600" indent="-228600" fontAlgn="base">
                <a:spcBef>
                  <a:spcPct val="0"/>
                </a:spcBef>
                <a:spcAft>
                  <a:spcPct val="0"/>
                </a:spcAft>
                <a:defRPr>
                  <a:solidFill>
                    <a:schemeClr val="tx1"/>
                  </a:solidFill>
                  <a:latin typeface="Open Sans Light" pitchFamily="34" charset="0"/>
                </a:defRPr>
              </a:lvl6pPr>
              <a:lvl7pPr marL="2971800" indent="-228600" fontAlgn="base">
                <a:spcBef>
                  <a:spcPct val="0"/>
                </a:spcBef>
                <a:spcAft>
                  <a:spcPct val="0"/>
                </a:spcAft>
                <a:defRPr>
                  <a:solidFill>
                    <a:schemeClr val="tx1"/>
                  </a:solidFill>
                  <a:latin typeface="Open Sans Light" pitchFamily="34" charset="0"/>
                </a:defRPr>
              </a:lvl7pPr>
              <a:lvl8pPr marL="3429000" indent="-228600" fontAlgn="base">
                <a:spcBef>
                  <a:spcPct val="0"/>
                </a:spcBef>
                <a:spcAft>
                  <a:spcPct val="0"/>
                </a:spcAft>
                <a:defRPr>
                  <a:solidFill>
                    <a:schemeClr val="tx1"/>
                  </a:solidFill>
                  <a:latin typeface="Open Sans Light" pitchFamily="34" charset="0"/>
                </a:defRPr>
              </a:lvl8pPr>
              <a:lvl9pPr marL="3886200" indent="-228600" fontAlgn="base">
                <a:spcBef>
                  <a:spcPct val="0"/>
                </a:spcBef>
                <a:spcAft>
                  <a:spcPct val="0"/>
                </a:spcAft>
                <a:defRPr>
                  <a:solidFill>
                    <a:schemeClr val="tx1"/>
                  </a:solidFill>
                  <a:latin typeface="Open Sans Light" pitchFamily="34" charset="0"/>
                </a:defRPr>
              </a:lvl9pPr>
            </a:lstStyle>
            <a:p>
              <a:pPr eaLnBrk="1" hangingPunct="1"/>
              <a:endParaRPr lang="en-US" altLang="en-US" dirty="0"/>
            </a:p>
          </p:txBody>
        </p:sp>
        <p:sp>
          <p:nvSpPr>
            <p:cNvPr id="26" name="Freeform 65">
              <a:extLst>
                <a:ext uri="{FF2B5EF4-FFF2-40B4-BE49-F238E27FC236}">
                  <a16:creationId xmlns:a16="http://schemas.microsoft.com/office/drawing/2014/main" id="{E083201A-5603-E7AE-C4E0-0A003C89B464}"/>
                </a:ext>
              </a:extLst>
            </p:cNvPr>
            <p:cNvSpPr>
              <a:spLocks noEditPoints="1"/>
            </p:cNvSpPr>
            <p:nvPr/>
          </p:nvSpPr>
          <p:spPr bwMode="auto">
            <a:xfrm>
              <a:off x="984536" y="2278488"/>
              <a:ext cx="358468" cy="351052"/>
            </a:xfrm>
            <a:custGeom>
              <a:avLst/>
              <a:gdLst>
                <a:gd name="T0" fmla="*/ 358468 w 188"/>
                <a:gd name="T1" fmla="*/ 181250 h 184"/>
                <a:gd name="T2" fmla="*/ 257411 w 188"/>
                <a:gd name="T3" fmla="*/ 135460 h 184"/>
                <a:gd name="T4" fmla="*/ 257411 w 188"/>
                <a:gd name="T5" fmla="*/ 125921 h 184"/>
                <a:gd name="T6" fmla="*/ 286012 w 188"/>
                <a:gd name="T7" fmla="*/ 70592 h 184"/>
                <a:gd name="T8" fmla="*/ 263131 w 188"/>
                <a:gd name="T9" fmla="*/ 5724 h 184"/>
                <a:gd name="T10" fmla="*/ 226903 w 188"/>
                <a:gd name="T11" fmla="*/ 34342 h 184"/>
                <a:gd name="T12" fmla="*/ 179234 w 188"/>
                <a:gd name="T13" fmla="*/ 104934 h 184"/>
                <a:gd name="T14" fmla="*/ 133472 w 188"/>
                <a:gd name="T15" fmla="*/ 175526 h 184"/>
                <a:gd name="T16" fmla="*/ 97244 w 188"/>
                <a:gd name="T17" fmla="*/ 160263 h 184"/>
                <a:gd name="T18" fmla="*/ 0 w 188"/>
                <a:gd name="T19" fmla="*/ 177434 h 184"/>
                <a:gd name="T20" fmla="*/ 17161 w 188"/>
                <a:gd name="T21" fmla="*/ 351052 h 184"/>
                <a:gd name="T22" fmla="*/ 114405 w 188"/>
                <a:gd name="T23" fmla="*/ 337697 h 184"/>
                <a:gd name="T24" fmla="*/ 139192 w 188"/>
                <a:gd name="T25" fmla="*/ 351052 h 184"/>
                <a:gd name="T26" fmla="*/ 143006 w 188"/>
                <a:gd name="T27" fmla="*/ 351052 h 184"/>
                <a:gd name="T28" fmla="*/ 299359 w 188"/>
                <a:gd name="T29" fmla="*/ 351052 h 184"/>
                <a:gd name="T30" fmla="*/ 333680 w 188"/>
                <a:gd name="T31" fmla="*/ 307171 h 184"/>
                <a:gd name="T32" fmla="*/ 343214 w 188"/>
                <a:gd name="T33" fmla="*/ 257565 h 184"/>
                <a:gd name="T34" fmla="*/ 348934 w 188"/>
                <a:gd name="T35" fmla="*/ 206052 h 184"/>
                <a:gd name="T36" fmla="*/ 97244 w 188"/>
                <a:gd name="T37" fmla="*/ 335789 h 184"/>
                <a:gd name="T38" fmla="*/ 15254 w 188"/>
                <a:gd name="T39" fmla="*/ 333881 h 184"/>
                <a:gd name="T40" fmla="*/ 17161 w 188"/>
                <a:gd name="T41" fmla="*/ 175526 h 184"/>
                <a:gd name="T42" fmla="*/ 99151 w 188"/>
                <a:gd name="T43" fmla="*/ 177434 h 184"/>
                <a:gd name="T44" fmla="*/ 335587 w 188"/>
                <a:gd name="T45" fmla="*/ 198421 h 184"/>
                <a:gd name="T46" fmla="*/ 333680 w 188"/>
                <a:gd name="T47" fmla="*/ 209868 h 184"/>
                <a:gd name="T48" fmla="*/ 329867 w 188"/>
                <a:gd name="T49" fmla="*/ 249934 h 184"/>
                <a:gd name="T50" fmla="*/ 327960 w 188"/>
                <a:gd name="T51" fmla="*/ 261381 h 184"/>
                <a:gd name="T52" fmla="*/ 320333 w 188"/>
                <a:gd name="T53" fmla="*/ 297631 h 184"/>
                <a:gd name="T54" fmla="*/ 318426 w 188"/>
                <a:gd name="T55" fmla="*/ 307171 h 184"/>
                <a:gd name="T56" fmla="*/ 299359 w 188"/>
                <a:gd name="T57" fmla="*/ 335789 h 184"/>
                <a:gd name="T58" fmla="*/ 133472 w 188"/>
                <a:gd name="T59" fmla="*/ 330065 h 184"/>
                <a:gd name="T60" fmla="*/ 114405 w 188"/>
                <a:gd name="T61" fmla="*/ 190789 h 184"/>
                <a:gd name="T62" fmla="*/ 137286 w 188"/>
                <a:gd name="T63" fmla="*/ 190789 h 184"/>
                <a:gd name="T64" fmla="*/ 169700 w 188"/>
                <a:gd name="T65" fmla="*/ 152631 h 184"/>
                <a:gd name="T66" fmla="*/ 192581 w 188"/>
                <a:gd name="T67" fmla="*/ 112566 h 184"/>
                <a:gd name="T68" fmla="*/ 247877 w 188"/>
                <a:gd name="T69" fmla="*/ 19079 h 184"/>
                <a:gd name="T70" fmla="*/ 272664 w 188"/>
                <a:gd name="T71" fmla="*/ 66776 h 184"/>
                <a:gd name="T72" fmla="*/ 244063 w 188"/>
                <a:gd name="T73" fmla="*/ 145000 h 184"/>
                <a:gd name="T74" fmla="*/ 308893 w 188"/>
                <a:gd name="T75" fmla="*/ 150723 h 184"/>
                <a:gd name="T76" fmla="*/ 335587 w 188"/>
                <a:gd name="T77" fmla="*/ 198421 h 184"/>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188" h="184">
                  <a:moveTo>
                    <a:pt x="183" y="108"/>
                  </a:moveTo>
                  <a:cubicBezTo>
                    <a:pt x="185" y="105"/>
                    <a:pt x="188" y="101"/>
                    <a:pt x="188" y="95"/>
                  </a:cubicBezTo>
                  <a:cubicBezTo>
                    <a:pt x="188" y="78"/>
                    <a:pt x="172" y="72"/>
                    <a:pt x="163" y="71"/>
                  </a:cubicBezTo>
                  <a:cubicBezTo>
                    <a:pt x="135" y="71"/>
                    <a:pt x="135" y="71"/>
                    <a:pt x="135" y="71"/>
                  </a:cubicBezTo>
                  <a:cubicBezTo>
                    <a:pt x="135" y="71"/>
                    <a:pt x="135" y="71"/>
                    <a:pt x="135" y="71"/>
                  </a:cubicBezTo>
                  <a:cubicBezTo>
                    <a:pt x="133" y="69"/>
                    <a:pt x="135" y="66"/>
                    <a:pt x="135" y="66"/>
                  </a:cubicBezTo>
                  <a:cubicBezTo>
                    <a:pt x="135" y="66"/>
                    <a:pt x="135" y="66"/>
                    <a:pt x="135" y="66"/>
                  </a:cubicBezTo>
                  <a:cubicBezTo>
                    <a:pt x="136" y="66"/>
                    <a:pt x="144" y="55"/>
                    <a:pt x="150" y="37"/>
                  </a:cubicBezTo>
                  <a:cubicBezTo>
                    <a:pt x="157" y="18"/>
                    <a:pt x="140" y="4"/>
                    <a:pt x="139" y="3"/>
                  </a:cubicBezTo>
                  <a:cubicBezTo>
                    <a:pt x="138" y="3"/>
                    <a:pt x="138" y="3"/>
                    <a:pt x="138" y="3"/>
                  </a:cubicBezTo>
                  <a:cubicBezTo>
                    <a:pt x="138" y="3"/>
                    <a:pt x="132" y="0"/>
                    <a:pt x="126" y="4"/>
                  </a:cubicBezTo>
                  <a:cubicBezTo>
                    <a:pt x="122" y="6"/>
                    <a:pt x="119" y="11"/>
                    <a:pt x="119" y="18"/>
                  </a:cubicBezTo>
                  <a:cubicBezTo>
                    <a:pt x="117" y="34"/>
                    <a:pt x="103" y="48"/>
                    <a:pt x="97" y="53"/>
                  </a:cubicBezTo>
                  <a:cubicBezTo>
                    <a:pt x="96" y="54"/>
                    <a:pt x="95" y="54"/>
                    <a:pt x="94" y="55"/>
                  </a:cubicBezTo>
                  <a:cubicBezTo>
                    <a:pt x="90" y="59"/>
                    <a:pt x="85" y="69"/>
                    <a:pt x="82" y="76"/>
                  </a:cubicBezTo>
                  <a:cubicBezTo>
                    <a:pt x="79" y="81"/>
                    <a:pt x="73" y="89"/>
                    <a:pt x="70" y="92"/>
                  </a:cubicBezTo>
                  <a:cubicBezTo>
                    <a:pt x="67" y="92"/>
                    <a:pt x="63" y="92"/>
                    <a:pt x="60" y="92"/>
                  </a:cubicBezTo>
                  <a:cubicBezTo>
                    <a:pt x="59" y="88"/>
                    <a:pt x="55" y="84"/>
                    <a:pt x="51" y="84"/>
                  </a:cubicBezTo>
                  <a:cubicBezTo>
                    <a:pt x="9" y="84"/>
                    <a:pt x="9" y="84"/>
                    <a:pt x="9" y="84"/>
                  </a:cubicBezTo>
                  <a:cubicBezTo>
                    <a:pt x="4" y="84"/>
                    <a:pt x="0" y="88"/>
                    <a:pt x="0" y="93"/>
                  </a:cubicBezTo>
                  <a:cubicBezTo>
                    <a:pt x="0" y="175"/>
                    <a:pt x="0" y="175"/>
                    <a:pt x="0" y="175"/>
                  </a:cubicBezTo>
                  <a:cubicBezTo>
                    <a:pt x="0" y="180"/>
                    <a:pt x="4" y="184"/>
                    <a:pt x="9" y="184"/>
                  </a:cubicBezTo>
                  <a:cubicBezTo>
                    <a:pt x="51" y="184"/>
                    <a:pt x="51" y="184"/>
                    <a:pt x="51" y="184"/>
                  </a:cubicBezTo>
                  <a:cubicBezTo>
                    <a:pt x="56" y="184"/>
                    <a:pt x="59" y="181"/>
                    <a:pt x="60" y="177"/>
                  </a:cubicBezTo>
                  <a:cubicBezTo>
                    <a:pt x="62" y="177"/>
                    <a:pt x="63" y="175"/>
                    <a:pt x="64" y="175"/>
                  </a:cubicBezTo>
                  <a:cubicBezTo>
                    <a:pt x="65" y="177"/>
                    <a:pt x="67" y="181"/>
                    <a:pt x="73" y="184"/>
                  </a:cubicBezTo>
                  <a:cubicBezTo>
                    <a:pt x="74" y="184"/>
                    <a:pt x="74" y="184"/>
                    <a:pt x="74" y="184"/>
                  </a:cubicBezTo>
                  <a:cubicBezTo>
                    <a:pt x="75" y="184"/>
                    <a:pt x="75" y="184"/>
                    <a:pt x="75" y="184"/>
                  </a:cubicBezTo>
                  <a:cubicBezTo>
                    <a:pt x="75" y="184"/>
                    <a:pt x="103" y="184"/>
                    <a:pt x="129" y="184"/>
                  </a:cubicBezTo>
                  <a:cubicBezTo>
                    <a:pt x="142" y="184"/>
                    <a:pt x="153" y="184"/>
                    <a:pt x="157" y="184"/>
                  </a:cubicBezTo>
                  <a:cubicBezTo>
                    <a:pt x="165" y="184"/>
                    <a:pt x="170" y="180"/>
                    <a:pt x="172" y="177"/>
                  </a:cubicBezTo>
                  <a:cubicBezTo>
                    <a:pt x="176" y="172"/>
                    <a:pt x="176" y="165"/>
                    <a:pt x="175" y="161"/>
                  </a:cubicBezTo>
                  <a:cubicBezTo>
                    <a:pt x="181" y="156"/>
                    <a:pt x="181" y="147"/>
                    <a:pt x="181" y="143"/>
                  </a:cubicBezTo>
                  <a:cubicBezTo>
                    <a:pt x="182" y="140"/>
                    <a:pt x="181" y="138"/>
                    <a:pt x="180" y="135"/>
                  </a:cubicBezTo>
                  <a:cubicBezTo>
                    <a:pt x="183" y="133"/>
                    <a:pt x="186" y="127"/>
                    <a:pt x="186" y="120"/>
                  </a:cubicBezTo>
                  <a:cubicBezTo>
                    <a:pt x="187" y="115"/>
                    <a:pt x="185" y="110"/>
                    <a:pt x="183" y="108"/>
                  </a:cubicBezTo>
                  <a:close/>
                  <a:moveTo>
                    <a:pt x="52" y="175"/>
                  </a:moveTo>
                  <a:cubicBezTo>
                    <a:pt x="52" y="176"/>
                    <a:pt x="52" y="176"/>
                    <a:pt x="51" y="176"/>
                  </a:cubicBezTo>
                  <a:cubicBezTo>
                    <a:pt x="9" y="176"/>
                    <a:pt x="9" y="176"/>
                    <a:pt x="9" y="176"/>
                  </a:cubicBezTo>
                  <a:cubicBezTo>
                    <a:pt x="9" y="176"/>
                    <a:pt x="8" y="176"/>
                    <a:pt x="8" y="175"/>
                  </a:cubicBezTo>
                  <a:cubicBezTo>
                    <a:pt x="8" y="93"/>
                    <a:pt x="8" y="93"/>
                    <a:pt x="8" y="93"/>
                  </a:cubicBezTo>
                  <a:cubicBezTo>
                    <a:pt x="8" y="93"/>
                    <a:pt x="9" y="92"/>
                    <a:pt x="9" y="92"/>
                  </a:cubicBezTo>
                  <a:cubicBezTo>
                    <a:pt x="51" y="92"/>
                    <a:pt x="51" y="92"/>
                    <a:pt x="51" y="92"/>
                  </a:cubicBezTo>
                  <a:cubicBezTo>
                    <a:pt x="52" y="92"/>
                    <a:pt x="52" y="93"/>
                    <a:pt x="52" y="93"/>
                  </a:cubicBezTo>
                  <a:lnTo>
                    <a:pt x="52" y="175"/>
                  </a:lnTo>
                  <a:close/>
                  <a:moveTo>
                    <a:pt x="176" y="104"/>
                  </a:moveTo>
                  <a:cubicBezTo>
                    <a:pt x="172" y="107"/>
                    <a:pt x="172" y="107"/>
                    <a:pt x="172" y="107"/>
                  </a:cubicBezTo>
                  <a:cubicBezTo>
                    <a:pt x="175" y="110"/>
                    <a:pt x="175" y="110"/>
                    <a:pt x="175" y="110"/>
                  </a:cubicBezTo>
                  <a:cubicBezTo>
                    <a:pt x="176" y="111"/>
                    <a:pt x="179" y="114"/>
                    <a:pt x="178" y="120"/>
                  </a:cubicBezTo>
                  <a:cubicBezTo>
                    <a:pt x="178" y="127"/>
                    <a:pt x="173" y="131"/>
                    <a:pt x="173" y="131"/>
                  </a:cubicBezTo>
                  <a:cubicBezTo>
                    <a:pt x="167" y="133"/>
                    <a:pt x="167" y="133"/>
                    <a:pt x="167" y="133"/>
                  </a:cubicBezTo>
                  <a:cubicBezTo>
                    <a:pt x="172" y="137"/>
                    <a:pt x="172" y="137"/>
                    <a:pt x="172" y="137"/>
                  </a:cubicBezTo>
                  <a:cubicBezTo>
                    <a:pt x="172" y="138"/>
                    <a:pt x="174" y="140"/>
                    <a:pt x="173" y="144"/>
                  </a:cubicBezTo>
                  <a:cubicBezTo>
                    <a:pt x="173" y="147"/>
                    <a:pt x="172" y="154"/>
                    <a:pt x="168" y="156"/>
                  </a:cubicBezTo>
                  <a:cubicBezTo>
                    <a:pt x="164" y="158"/>
                    <a:pt x="164" y="158"/>
                    <a:pt x="164" y="158"/>
                  </a:cubicBezTo>
                  <a:cubicBezTo>
                    <a:pt x="167" y="161"/>
                    <a:pt x="167" y="161"/>
                    <a:pt x="167" y="161"/>
                  </a:cubicBezTo>
                  <a:cubicBezTo>
                    <a:pt x="168" y="163"/>
                    <a:pt x="168" y="169"/>
                    <a:pt x="165" y="173"/>
                  </a:cubicBezTo>
                  <a:cubicBezTo>
                    <a:pt x="164" y="175"/>
                    <a:pt x="161" y="176"/>
                    <a:pt x="157" y="176"/>
                  </a:cubicBezTo>
                  <a:cubicBezTo>
                    <a:pt x="144" y="176"/>
                    <a:pt x="84" y="176"/>
                    <a:pt x="76" y="176"/>
                  </a:cubicBezTo>
                  <a:cubicBezTo>
                    <a:pt x="73" y="175"/>
                    <a:pt x="71" y="174"/>
                    <a:pt x="70" y="173"/>
                  </a:cubicBezTo>
                  <a:cubicBezTo>
                    <a:pt x="69" y="172"/>
                    <a:pt x="67" y="167"/>
                    <a:pt x="60" y="167"/>
                  </a:cubicBezTo>
                  <a:cubicBezTo>
                    <a:pt x="60" y="100"/>
                    <a:pt x="60" y="100"/>
                    <a:pt x="60" y="100"/>
                  </a:cubicBezTo>
                  <a:cubicBezTo>
                    <a:pt x="64" y="100"/>
                    <a:pt x="71" y="100"/>
                    <a:pt x="71" y="100"/>
                  </a:cubicBezTo>
                  <a:cubicBezTo>
                    <a:pt x="72" y="100"/>
                    <a:pt x="72" y="100"/>
                    <a:pt x="72" y="100"/>
                  </a:cubicBezTo>
                  <a:cubicBezTo>
                    <a:pt x="74" y="99"/>
                    <a:pt x="74" y="99"/>
                    <a:pt x="74" y="99"/>
                  </a:cubicBezTo>
                  <a:cubicBezTo>
                    <a:pt x="74" y="99"/>
                    <a:pt x="85" y="88"/>
                    <a:pt x="89" y="80"/>
                  </a:cubicBezTo>
                  <a:cubicBezTo>
                    <a:pt x="93" y="72"/>
                    <a:pt x="96" y="63"/>
                    <a:pt x="100" y="61"/>
                  </a:cubicBezTo>
                  <a:cubicBezTo>
                    <a:pt x="100" y="60"/>
                    <a:pt x="101" y="60"/>
                    <a:pt x="101" y="59"/>
                  </a:cubicBezTo>
                  <a:cubicBezTo>
                    <a:pt x="108" y="54"/>
                    <a:pt x="124" y="38"/>
                    <a:pt x="127" y="19"/>
                  </a:cubicBezTo>
                  <a:cubicBezTo>
                    <a:pt x="127" y="14"/>
                    <a:pt x="128" y="12"/>
                    <a:pt x="130" y="10"/>
                  </a:cubicBezTo>
                  <a:cubicBezTo>
                    <a:pt x="132" y="9"/>
                    <a:pt x="134" y="10"/>
                    <a:pt x="135" y="10"/>
                  </a:cubicBezTo>
                  <a:cubicBezTo>
                    <a:pt x="137" y="12"/>
                    <a:pt x="147" y="22"/>
                    <a:pt x="143" y="35"/>
                  </a:cubicBezTo>
                  <a:cubicBezTo>
                    <a:pt x="137" y="51"/>
                    <a:pt x="129" y="61"/>
                    <a:pt x="129" y="61"/>
                  </a:cubicBezTo>
                  <a:cubicBezTo>
                    <a:pt x="127" y="64"/>
                    <a:pt x="124" y="70"/>
                    <a:pt x="128" y="76"/>
                  </a:cubicBezTo>
                  <a:cubicBezTo>
                    <a:pt x="130" y="79"/>
                    <a:pt x="133" y="79"/>
                    <a:pt x="135" y="79"/>
                  </a:cubicBezTo>
                  <a:cubicBezTo>
                    <a:pt x="162" y="79"/>
                    <a:pt x="162" y="79"/>
                    <a:pt x="162" y="79"/>
                  </a:cubicBezTo>
                  <a:cubicBezTo>
                    <a:pt x="163" y="79"/>
                    <a:pt x="180" y="81"/>
                    <a:pt x="180" y="95"/>
                  </a:cubicBezTo>
                  <a:cubicBezTo>
                    <a:pt x="180" y="101"/>
                    <a:pt x="176" y="104"/>
                    <a:pt x="176" y="104"/>
                  </a:cubicBezTo>
                  <a:close/>
                </a:path>
              </a:pathLst>
            </a:custGeom>
            <a:grpFill/>
            <a:ln w="9525">
              <a:solidFill>
                <a:schemeClr val="tx1"/>
              </a:solidFill>
              <a:round/>
              <a:headEnd/>
              <a:tailEnd/>
            </a:ln>
          </p:spPr>
          <p:txBody>
            <a:bodyPr/>
            <a:lstStyle/>
            <a:p>
              <a:endParaRPr lang="en-US" dirty="0"/>
            </a:p>
          </p:txBody>
        </p:sp>
      </p:grpSp>
      <p:grpSp>
        <p:nvGrpSpPr>
          <p:cNvPr id="27" name="Group 26" descr="clock icon">
            <a:extLst>
              <a:ext uri="{FF2B5EF4-FFF2-40B4-BE49-F238E27FC236}">
                <a16:creationId xmlns:a16="http://schemas.microsoft.com/office/drawing/2014/main" id="{B808CBE1-9B84-7818-F1B7-F6B6847390C9}"/>
              </a:ext>
            </a:extLst>
          </p:cNvPr>
          <p:cNvGrpSpPr/>
          <p:nvPr/>
        </p:nvGrpSpPr>
        <p:grpSpPr>
          <a:xfrm>
            <a:off x="10965805" y="3169273"/>
            <a:ext cx="823913" cy="823912"/>
            <a:chOff x="744537" y="3036069"/>
            <a:chExt cx="823913" cy="823912"/>
          </a:xfrm>
          <a:solidFill>
            <a:schemeClr val="bg1"/>
          </a:solidFill>
        </p:grpSpPr>
        <p:sp>
          <p:nvSpPr>
            <p:cNvPr id="28" name="Oval 68">
              <a:extLst>
                <a:ext uri="{FF2B5EF4-FFF2-40B4-BE49-F238E27FC236}">
                  <a16:creationId xmlns:a16="http://schemas.microsoft.com/office/drawing/2014/main" id="{0D5B9A7E-609B-61CB-6B76-65F108A044FB}"/>
                </a:ext>
                <a:ext uri="{C183D7F6-B498-43B3-948B-1728B52AA6E4}">
                  <adec:decorative xmlns:adec="http://schemas.microsoft.com/office/drawing/2017/decorative" val="1"/>
                </a:ext>
              </a:extLst>
            </p:cNvPr>
            <p:cNvSpPr>
              <a:spLocks noChangeArrowheads="1"/>
            </p:cNvSpPr>
            <p:nvPr/>
          </p:nvSpPr>
          <p:spPr bwMode="auto">
            <a:xfrm>
              <a:off x="744537" y="3036069"/>
              <a:ext cx="823913" cy="823912"/>
            </a:xfrm>
            <a:prstGeom prst="ellipse">
              <a:avLst/>
            </a:prstGeom>
            <a:grpFill/>
            <a:ln>
              <a:noFill/>
            </a:ln>
          </p:spPr>
          <p:txBody>
            <a:bodyPr/>
            <a:lstStyle>
              <a:lvl1pPr>
                <a:defRPr>
                  <a:solidFill>
                    <a:schemeClr val="tx1"/>
                  </a:solidFill>
                  <a:latin typeface="Open Sans Light" pitchFamily="34" charset="0"/>
                </a:defRPr>
              </a:lvl1pPr>
              <a:lvl2pPr marL="742950" indent="-285750">
                <a:defRPr>
                  <a:solidFill>
                    <a:schemeClr val="tx1"/>
                  </a:solidFill>
                  <a:latin typeface="Open Sans Light" pitchFamily="34" charset="0"/>
                </a:defRPr>
              </a:lvl2pPr>
              <a:lvl3pPr marL="1143000" indent="-228600">
                <a:defRPr>
                  <a:solidFill>
                    <a:schemeClr val="tx1"/>
                  </a:solidFill>
                  <a:latin typeface="Open Sans Light" pitchFamily="34" charset="0"/>
                </a:defRPr>
              </a:lvl3pPr>
              <a:lvl4pPr marL="1600200" indent="-228600">
                <a:defRPr>
                  <a:solidFill>
                    <a:schemeClr val="tx1"/>
                  </a:solidFill>
                  <a:latin typeface="Open Sans Light" pitchFamily="34" charset="0"/>
                </a:defRPr>
              </a:lvl4pPr>
              <a:lvl5pPr marL="2057400" indent="-228600">
                <a:defRPr>
                  <a:solidFill>
                    <a:schemeClr val="tx1"/>
                  </a:solidFill>
                  <a:latin typeface="Open Sans Light" pitchFamily="34" charset="0"/>
                </a:defRPr>
              </a:lvl5pPr>
              <a:lvl6pPr marL="2514600" indent="-228600" fontAlgn="base">
                <a:spcBef>
                  <a:spcPct val="0"/>
                </a:spcBef>
                <a:spcAft>
                  <a:spcPct val="0"/>
                </a:spcAft>
                <a:defRPr>
                  <a:solidFill>
                    <a:schemeClr val="tx1"/>
                  </a:solidFill>
                  <a:latin typeface="Open Sans Light" pitchFamily="34" charset="0"/>
                </a:defRPr>
              </a:lvl6pPr>
              <a:lvl7pPr marL="2971800" indent="-228600" fontAlgn="base">
                <a:spcBef>
                  <a:spcPct val="0"/>
                </a:spcBef>
                <a:spcAft>
                  <a:spcPct val="0"/>
                </a:spcAft>
                <a:defRPr>
                  <a:solidFill>
                    <a:schemeClr val="tx1"/>
                  </a:solidFill>
                  <a:latin typeface="Open Sans Light" pitchFamily="34" charset="0"/>
                </a:defRPr>
              </a:lvl7pPr>
              <a:lvl8pPr marL="3429000" indent="-228600" fontAlgn="base">
                <a:spcBef>
                  <a:spcPct val="0"/>
                </a:spcBef>
                <a:spcAft>
                  <a:spcPct val="0"/>
                </a:spcAft>
                <a:defRPr>
                  <a:solidFill>
                    <a:schemeClr val="tx1"/>
                  </a:solidFill>
                  <a:latin typeface="Open Sans Light" pitchFamily="34" charset="0"/>
                </a:defRPr>
              </a:lvl8pPr>
              <a:lvl9pPr marL="3886200" indent="-228600" fontAlgn="base">
                <a:spcBef>
                  <a:spcPct val="0"/>
                </a:spcBef>
                <a:spcAft>
                  <a:spcPct val="0"/>
                </a:spcAft>
                <a:defRPr>
                  <a:solidFill>
                    <a:schemeClr val="tx1"/>
                  </a:solidFill>
                  <a:latin typeface="Open Sans Light" pitchFamily="34" charset="0"/>
                </a:defRPr>
              </a:lvl9pPr>
            </a:lstStyle>
            <a:p>
              <a:pPr eaLnBrk="1" hangingPunct="1"/>
              <a:endParaRPr lang="en-US" altLang="en-US" dirty="0"/>
            </a:p>
          </p:txBody>
        </p:sp>
        <p:grpSp>
          <p:nvGrpSpPr>
            <p:cNvPr id="29" name="Group 28" descr="Clock">
              <a:extLst>
                <a:ext uri="{FF2B5EF4-FFF2-40B4-BE49-F238E27FC236}">
                  <a16:creationId xmlns:a16="http://schemas.microsoft.com/office/drawing/2014/main" id="{1C95187E-2D4F-6A0D-B336-8B096F1468D7}"/>
                </a:ext>
              </a:extLst>
            </p:cNvPr>
            <p:cNvGrpSpPr/>
            <p:nvPr/>
          </p:nvGrpSpPr>
          <p:grpSpPr bwMode="auto">
            <a:xfrm>
              <a:off x="982527" y="3270522"/>
              <a:ext cx="343634" cy="344872"/>
              <a:chOff x="9155465" y="4372601"/>
              <a:chExt cx="343634" cy="344872"/>
            </a:xfrm>
            <a:grpFill/>
          </p:grpSpPr>
          <p:sp>
            <p:nvSpPr>
              <p:cNvPr id="30" name="Freeform 158">
                <a:extLst>
                  <a:ext uri="{FF2B5EF4-FFF2-40B4-BE49-F238E27FC236}">
                    <a16:creationId xmlns:a16="http://schemas.microsoft.com/office/drawing/2014/main" id="{6A73770E-F6A1-75D7-11EF-CB4EC6F3B336}"/>
                  </a:ext>
                </a:extLst>
              </p:cNvPr>
              <p:cNvSpPr>
                <a:spLocks noEditPoints="1"/>
              </p:cNvSpPr>
              <p:nvPr/>
            </p:nvSpPr>
            <p:spPr bwMode="auto">
              <a:xfrm>
                <a:off x="9379198" y="4372601"/>
                <a:ext cx="119901" cy="101360"/>
              </a:xfrm>
              <a:custGeom>
                <a:avLst/>
                <a:gdLst>
                  <a:gd name="T0" fmla="*/ 50 w 63"/>
                  <a:gd name="T1" fmla="*/ 53 h 53"/>
                  <a:gd name="T2" fmla="*/ 47 w 63"/>
                  <a:gd name="T3" fmla="*/ 49 h 53"/>
                  <a:gd name="T4" fmla="*/ 4 w 63"/>
                  <a:gd name="T5" fmla="*/ 15 h 53"/>
                  <a:gd name="T6" fmla="*/ 0 w 63"/>
                  <a:gd name="T7" fmla="*/ 14 h 53"/>
                  <a:gd name="T8" fmla="*/ 2 w 63"/>
                  <a:gd name="T9" fmla="*/ 10 h 53"/>
                  <a:gd name="T10" fmla="*/ 19 w 63"/>
                  <a:gd name="T11" fmla="*/ 0 h 53"/>
                  <a:gd name="T12" fmla="*/ 42 w 63"/>
                  <a:gd name="T13" fmla="*/ 11 h 53"/>
                  <a:gd name="T14" fmla="*/ 52 w 63"/>
                  <a:gd name="T15" fmla="*/ 50 h 53"/>
                  <a:gd name="T16" fmla="*/ 50 w 63"/>
                  <a:gd name="T17" fmla="*/ 53 h 53"/>
                  <a:gd name="T18" fmla="*/ 10 w 63"/>
                  <a:gd name="T19" fmla="*/ 11 h 53"/>
                  <a:gd name="T20" fmla="*/ 50 w 63"/>
                  <a:gd name="T21" fmla="*/ 42 h 53"/>
                  <a:gd name="T22" fmla="*/ 39 w 63"/>
                  <a:gd name="T23" fmla="*/ 16 h 53"/>
                  <a:gd name="T24" fmla="*/ 19 w 63"/>
                  <a:gd name="T25" fmla="*/ 6 h 53"/>
                  <a:gd name="T26" fmla="*/ 10 w 63"/>
                  <a:gd name="T27" fmla="*/ 1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 h="53">
                    <a:moveTo>
                      <a:pt x="50" y="53"/>
                    </a:moveTo>
                    <a:cubicBezTo>
                      <a:pt x="47" y="49"/>
                      <a:pt x="47" y="49"/>
                      <a:pt x="47" y="49"/>
                    </a:cubicBezTo>
                    <a:cubicBezTo>
                      <a:pt x="37" y="33"/>
                      <a:pt x="22" y="21"/>
                      <a:pt x="4" y="15"/>
                    </a:cubicBezTo>
                    <a:cubicBezTo>
                      <a:pt x="0" y="14"/>
                      <a:pt x="0" y="14"/>
                      <a:pt x="0" y="14"/>
                    </a:cubicBezTo>
                    <a:cubicBezTo>
                      <a:pt x="2" y="10"/>
                      <a:pt x="2" y="10"/>
                      <a:pt x="2" y="10"/>
                    </a:cubicBezTo>
                    <a:cubicBezTo>
                      <a:pt x="6" y="5"/>
                      <a:pt x="11" y="0"/>
                      <a:pt x="19" y="0"/>
                    </a:cubicBezTo>
                    <a:cubicBezTo>
                      <a:pt x="26" y="0"/>
                      <a:pt x="33" y="4"/>
                      <a:pt x="42" y="11"/>
                    </a:cubicBezTo>
                    <a:cubicBezTo>
                      <a:pt x="63" y="27"/>
                      <a:pt x="61" y="38"/>
                      <a:pt x="52" y="50"/>
                    </a:cubicBezTo>
                    <a:lnTo>
                      <a:pt x="50" y="53"/>
                    </a:lnTo>
                    <a:close/>
                    <a:moveTo>
                      <a:pt x="10" y="11"/>
                    </a:moveTo>
                    <a:cubicBezTo>
                      <a:pt x="26" y="17"/>
                      <a:pt x="40" y="28"/>
                      <a:pt x="50" y="42"/>
                    </a:cubicBezTo>
                    <a:cubicBezTo>
                      <a:pt x="54" y="36"/>
                      <a:pt x="55" y="29"/>
                      <a:pt x="39" y="16"/>
                    </a:cubicBezTo>
                    <a:cubicBezTo>
                      <a:pt x="30" y="9"/>
                      <a:pt x="24" y="6"/>
                      <a:pt x="19" y="6"/>
                    </a:cubicBezTo>
                    <a:cubicBezTo>
                      <a:pt x="16" y="6"/>
                      <a:pt x="13" y="8"/>
                      <a:pt x="10" y="11"/>
                    </a:cubicBez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1" name="Freeform 159">
                <a:extLst>
                  <a:ext uri="{FF2B5EF4-FFF2-40B4-BE49-F238E27FC236}">
                    <a16:creationId xmlns:a16="http://schemas.microsoft.com/office/drawing/2014/main" id="{3529665D-D778-71CC-E4C5-628FF603244E}"/>
                  </a:ext>
                </a:extLst>
              </p:cNvPr>
              <p:cNvSpPr>
                <a:spLocks noEditPoints="1"/>
              </p:cNvSpPr>
              <p:nvPr/>
            </p:nvSpPr>
            <p:spPr bwMode="auto">
              <a:xfrm>
                <a:off x="9155465" y="4372601"/>
                <a:ext cx="119901" cy="101360"/>
              </a:xfrm>
              <a:custGeom>
                <a:avLst/>
                <a:gdLst>
                  <a:gd name="T0" fmla="*/ 13 w 63"/>
                  <a:gd name="T1" fmla="*/ 53 h 53"/>
                  <a:gd name="T2" fmla="*/ 10 w 63"/>
                  <a:gd name="T3" fmla="*/ 50 h 53"/>
                  <a:gd name="T4" fmla="*/ 20 w 63"/>
                  <a:gd name="T5" fmla="*/ 11 h 53"/>
                  <a:gd name="T6" fmla="*/ 44 w 63"/>
                  <a:gd name="T7" fmla="*/ 0 h 53"/>
                  <a:gd name="T8" fmla="*/ 60 w 63"/>
                  <a:gd name="T9" fmla="*/ 10 h 53"/>
                  <a:gd name="T10" fmla="*/ 63 w 63"/>
                  <a:gd name="T11" fmla="*/ 14 h 53"/>
                  <a:gd name="T12" fmla="*/ 59 w 63"/>
                  <a:gd name="T13" fmla="*/ 15 h 53"/>
                  <a:gd name="T14" fmla="*/ 15 w 63"/>
                  <a:gd name="T15" fmla="*/ 49 h 53"/>
                  <a:gd name="T16" fmla="*/ 13 w 63"/>
                  <a:gd name="T17" fmla="*/ 53 h 53"/>
                  <a:gd name="T18" fmla="*/ 44 w 63"/>
                  <a:gd name="T19" fmla="*/ 6 h 53"/>
                  <a:gd name="T20" fmla="*/ 24 w 63"/>
                  <a:gd name="T21" fmla="*/ 16 h 53"/>
                  <a:gd name="T22" fmla="*/ 13 w 63"/>
                  <a:gd name="T23" fmla="*/ 42 h 53"/>
                  <a:gd name="T24" fmla="*/ 53 w 63"/>
                  <a:gd name="T25" fmla="*/ 11 h 53"/>
                  <a:gd name="T26" fmla="*/ 44 w 63"/>
                  <a:gd name="T27" fmla="*/ 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 h="53">
                    <a:moveTo>
                      <a:pt x="13" y="53"/>
                    </a:moveTo>
                    <a:cubicBezTo>
                      <a:pt x="10" y="50"/>
                      <a:pt x="10" y="50"/>
                      <a:pt x="10" y="50"/>
                    </a:cubicBezTo>
                    <a:cubicBezTo>
                      <a:pt x="2" y="38"/>
                      <a:pt x="0" y="27"/>
                      <a:pt x="20" y="11"/>
                    </a:cubicBezTo>
                    <a:cubicBezTo>
                      <a:pt x="30" y="4"/>
                      <a:pt x="37" y="0"/>
                      <a:pt x="44" y="0"/>
                    </a:cubicBezTo>
                    <a:cubicBezTo>
                      <a:pt x="51" y="0"/>
                      <a:pt x="56" y="5"/>
                      <a:pt x="60" y="10"/>
                    </a:cubicBezTo>
                    <a:cubicBezTo>
                      <a:pt x="63" y="14"/>
                      <a:pt x="63" y="14"/>
                      <a:pt x="63" y="14"/>
                    </a:cubicBezTo>
                    <a:cubicBezTo>
                      <a:pt x="59" y="15"/>
                      <a:pt x="59" y="15"/>
                      <a:pt x="59" y="15"/>
                    </a:cubicBezTo>
                    <a:cubicBezTo>
                      <a:pt x="41" y="21"/>
                      <a:pt x="26" y="33"/>
                      <a:pt x="15" y="49"/>
                    </a:cubicBezTo>
                    <a:lnTo>
                      <a:pt x="13" y="53"/>
                    </a:lnTo>
                    <a:close/>
                    <a:moveTo>
                      <a:pt x="44" y="6"/>
                    </a:moveTo>
                    <a:cubicBezTo>
                      <a:pt x="39" y="6"/>
                      <a:pt x="32" y="9"/>
                      <a:pt x="24" y="16"/>
                    </a:cubicBezTo>
                    <a:cubicBezTo>
                      <a:pt x="8" y="29"/>
                      <a:pt x="9" y="36"/>
                      <a:pt x="13" y="42"/>
                    </a:cubicBezTo>
                    <a:cubicBezTo>
                      <a:pt x="23" y="28"/>
                      <a:pt x="37" y="17"/>
                      <a:pt x="53" y="11"/>
                    </a:cubicBezTo>
                    <a:cubicBezTo>
                      <a:pt x="50" y="8"/>
                      <a:pt x="47" y="6"/>
                      <a:pt x="44" y="6"/>
                    </a:cubicBez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2" name="Freeform 160">
                <a:extLst>
                  <a:ext uri="{FF2B5EF4-FFF2-40B4-BE49-F238E27FC236}">
                    <a16:creationId xmlns:a16="http://schemas.microsoft.com/office/drawing/2014/main" id="{1D07999A-0B9E-EABC-79E7-1E3F332E33D8}"/>
                  </a:ext>
                </a:extLst>
              </p:cNvPr>
              <p:cNvSpPr>
                <a:spLocks/>
              </p:cNvSpPr>
              <p:nvPr/>
            </p:nvSpPr>
            <p:spPr bwMode="auto">
              <a:xfrm>
                <a:off x="9196256" y="4671737"/>
                <a:ext cx="43263" cy="44500"/>
              </a:xfrm>
              <a:custGeom>
                <a:avLst/>
                <a:gdLst>
                  <a:gd name="T0" fmla="*/ 6 w 35"/>
                  <a:gd name="T1" fmla="*/ 36 h 36"/>
                  <a:gd name="T2" fmla="*/ 0 w 35"/>
                  <a:gd name="T3" fmla="*/ 30 h 36"/>
                  <a:gd name="T4" fmla="*/ 29 w 35"/>
                  <a:gd name="T5" fmla="*/ 0 h 36"/>
                  <a:gd name="T6" fmla="*/ 35 w 35"/>
                  <a:gd name="T7" fmla="*/ 8 h 36"/>
                  <a:gd name="T8" fmla="*/ 6 w 35"/>
                  <a:gd name="T9" fmla="*/ 36 h 36"/>
                </a:gdLst>
                <a:ahLst/>
                <a:cxnLst>
                  <a:cxn ang="0">
                    <a:pos x="T0" y="T1"/>
                  </a:cxn>
                  <a:cxn ang="0">
                    <a:pos x="T2" y="T3"/>
                  </a:cxn>
                  <a:cxn ang="0">
                    <a:pos x="T4" y="T5"/>
                  </a:cxn>
                  <a:cxn ang="0">
                    <a:pos x="T6" y="T7"/>
                  </a:cxn>
                  <a:cxn ang="0">
                    <a:pos x="T8" y="T9"/>
                  </a:cxn>
                </a:cxnLst>
                <a:rect l="0" t="0" r="r" b="b"/>
                <a:pathLst>
                  <a:path w="35" h="36">
                    <a:moveTo>
                      <a:pt x="6" y="36"/>
                    </a:moveTo>
                    <a:lnTo>
                      <a:pt x="0" y="30"/>
                    </a:lnTo>
                    <a:lnTo>
                      <a:pt x="29" y="0"/>
                    </a:lnTo>
                    <a:lnTo>
                      <a:pt x="35" y="8"/>
                    </a:lnTo>
                    <a:lnTo>
                      <a:pt x="6" y="36"/>
                    </a:ln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3" name="Freeform 161">
                <a:extLst>
                  <a:ext uri="{FF2B5EF4-FFF2-40B4-BE49-F238E27FC236}">
                    <a16:creationId xmlns:a16="http://schemas.microsoft.com/office/drawing/2014/main" id="{417F16D0-0B89-5C5D-14AF-5F751A829BE1}"/>
                  </a:ext>
                </a:extLst>
              </p:cNvPr>
              <p:cNvSpPr>
                <a:spLocks/>
              </p:cNvSpPr>
              <p:nvPr/>
            </p:nvSpPr>
            <p:spPr bwMode="auto">
              <a:xfrm>
                <a:off x="9413809" y="4671737"/>
                <a:ext cx="45736" cy="45736"/>
              </a:xfrm>
              <a:custGeom>
                <a:avLst/>
                <a:gdLst>
                  <a:gd name="T0" fmla="*/ 29 w 37"/>
                  <a:gd name="T1" fmla="*/ 37 h 37"/>
                  <a:gd name="T2" fmla="*/ 0 w 37"/>
                  <a:gd name="T3" fmla="*/ 8 h 37"/>
                  <a:gd name="T4" fmla="*/ 6 w 37"/>
                  <a:gd name="T5" fmla="*/ 0 h 37"/>
                  <a:gd name="T6" fmla="*/ 37 w 37"/>
                  <a:gd name="T7" fmla="*/ 31 h 37"/>
                  <a:gd name="T8" fmla="*/ 29 w 37"/>
                  <a:gd name="T9" fmla="*/ 37 h 37"/>
                </a:gdLst>
                <a:ahLst/>
                <a:cxnLst>
                  <a:cxn ang="0">
                    <a:pos x="T0" y="T1"/>
                  </a:cxn>
                  <a:cxn ang="0">
                    <a:pos x="T2" y="T3"/>
                  </a:cxn>
                  <a:cxn ang="0">
                    <a:pos x="T4" y="T5"/>
                  </a:cxn>
                  <a:cxn ang="0">
                    <a:pos x="T6" y="T7"/>
                  </a:cxn>
                  <a:cxn ang="0">
                    <a:pos x="T8" y="T9"/>
                  </a:cxn>
                </a:cxnLst>
                <a:rect l="0" t="0" r="r" b="b"/>
                <a:pathLst>
                  <a:path w="37" h="37">
                    <a:moveTo>
                      <a:pt x="29" y="37"/>
                    </a:moveTo>
                    <a:lnTo>
                      <a:pt x="0" y="8"/>
                    </a:lnTo>
                    <a:lnTo>
                      <a:pt x="6" y="0"/>
                    </a:lnTo>
                    <a:lnTo>
                      <a:pt x="37" y="31"/>
                    </a:lnTo>
                    <a:lnTo>
                      <a:pt x="29" y="37"/>
                    </a:ln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4" name="Freeform 162">
                <a:extLst>
                  <a:ext uri="{FF2B5EF4-FFF2-40B4-BE49-F238E27FC236}">
                    <a16:creationId xmlns:a16="http://schemas.microsoft.com/office/drawing/2014/main" id="{EBCE8487-1B7B-DC4F-4D30-0095CB46F85B}"/>
                  </a:ext>
                </a:extLst>
              </p:cNvPr>
              <p:cNvSpPr>
                <a:spLocks noEditPoints="1"/>
              </p:cNvSpPr>
              <p:nvPr/>
            </p:nvSpPr>
            <p:spPr bwMode="auto">
              <a:xfrm>
                <a:off x="9167826" y="4397323"/>
                <a:ext cx="320149" cy="320149"/>
              </a:xfrm>
              <a:custGeom>
                <a:avLst/>
                <a:gdLst>
                  <a:gd name="T0" fmla="*/ 84 w 168"/>
                  <a:gd name="T1" fmla="*/ 168 h 168"/>
                  <a:gd name="T2" fmla="*/ 0 w 168"/>
                  <a:gd name="T3" fmla="*/ 84 h 168"/>
                  <a:gd name="T4" fmla="*/ 84 w 168"/>
                  <a:gd name="T5" fmla="*/ 0 h 168"/>
                  <a:gd name="T6" fmla="*/ 168 w 168"/>
                  <a:gd name="T7" fmla="*/ 84 h 168"/>
                  <a:gd name="T8" fmla="*/ 84 w 168"/>
                  <a:gd name="T9" fmla="*/ 168 h 168"/>
                  <a:gd name="T10" fmla="*/ 84 w 168"/>
                  <a:gd name="T11" fmla="*/ 6 h 168"/>
                  <a:gd name="T12" fmla="*/ 6 w 168"/>
                  <a:gd name="T13" fmla="*/ 84 h 168"/>
                  <a:gd name="T14" fmla="*/ 84 w 168"/>
                  <a:gd name="T15" fmla="*/ 162 h 168"/>
                  <a:gd name="T16" fmla="*/ 162 w 168"/>
                  <a:gd name="T17" fmla="*/ 84 h 168"/>
                  <a:gd name="T18" fmla="*/ 84 w 168"/>
                  <a:gd name="T19" fmla="*/ 6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8" h="168">
                    <a:moveTo>
                      <a:pt x="84" y="168"/>
                    </a:moveTo>
                    <a:cubicBezTo>
                      <a:pt x="38" y="168"/>
                      <a:pt x="0" y="131"/>
                      <a:pt x="0" y="84"/>
                    </a:cubicBezTo>
                    <a:cubicBezTo>
                      <a:pt x="0" y="38"/>
                      <a:pt x="38" y="0"/>
                      <a:pt x="84" y="0"/>
                    </a:cubicBezTo>
                    <a:cubicBezTo>
                      <a:pt x="130" y="0"/>
                      <a:pt x="168" y="38"/>
                      <a:pt x="168" y="84"/>
                    </a:cubicBezTo>
                    <a:cubicBezTo>
                      <a:pt x="168" y="131"/>
                      <a:pt x="130" y="168"/>
                      <a:pt x="84" y="168"/>
                    </a:cubicBezTo>
                    <a:close/>
                    <a:moveTo>
                      <a:pt x="84" y="6"/>
                    </a:moveTo>
                    <a:cubicBezTo>
                      <a:pt x="41" y="6"/>
                      <a:pt x="6" y="41"/>
                      <a:pt x="6" y="84"/>
                    </a:cubicBezTo>
                    <a:cubicBezTo>
                      <a:pt x="6" y="127"/>
                      <a:pt x="41" y="162"/>
                      <a:pt x="84" y="162"/>
                    </a:cubicBezTo>
                    <a:cubicBezTo>
                      <a:pt x="127" y="162"/>
                      <a:pt x="162" y="127"/>
                      <a:pt x="162" y="84"/>
                    </a:cubicBezTo>
                    <a:cubicBezTo>
                      <a:pt x="162" y="41"/>
                      <a:pt x="127" y="6"/>
                      <a:pt x="84" y="6"/>
                    </a:cubicBez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5" name="Freeform 163">
                <a:extLst>
                  <a:ext uri="{FF2B5EF4-FFF2-40B4-BE49-F238E27FC236}">
                    <a16:creationId xmlns:a16="http://schemas.microsoft.com/office/drawing/2014/main" id="{6C353EFD-0A51-247D-9F9E-964856BBE9A0}"/>
                  </a:ext>
                </a:extLst>
              </p:cNvPr>
              <p:cNvSpPr>
                <a:spLocks/>
              </p:cNvSpPr>
              <p:nvPr/>
            </p:nvSpPr>
            <p:spPr bwMode="auto">
              <a:xfrm>
                <a:off x="9234575" y="4446767"/>
                <a:ext cx="100124" cy="126082"/>
              </a:xfrm>
              <a:custGeom>
                <a:avLst/>
                <a:gdLst>
                  <a:gd name="T0" fmla="*/ 81 w 81"/>
                  <a:gd name="T1" fmla="*/ 102 h 102"/>
                  <a:gd name="T2" fmla="*/ 0 w 81"/>
                  <a:gd name="T3" fmla="*/ 102 h 102"/>
                  <a:gd name="T4" fmla="*/ 0 w 81"/>
                  <a:gd name="T5" fmla="*/ 93 h 102"/>
                  <a:gd name="T6" fmla="*/ 72 w 81"/>
                  <a:gd name="T7" fmla="*/ 93 h 102"/>
                  <a:gd name="T8" fmla="*/ 72 w 81"/>
                  <a:gd name="T9" fmla="*/ 0 h 102"/>
                  <a:gd name="T10" fmla="*/ 81 w 81"/>
                  <a:gd name="T11" fmla="*/ 0 h 102"/>
                  <a:gd name="T12" fmla="*/ 81 w 81"/>
                  <a:gd name="T13" fmla="*/ 102 h 102"/>
                </a:gdLst>
                <a:ahLst/>
                <a:cxnLst>
                  <a:cxn ang="0">
                    <a:pos x="T0" y="T1"/>
                  </a:cxn>
                  <a:cxn ang="0">
                    <a:pos x="T2" y="T3"/>
                  </a:cxn>
                  <a:cxn ang="0">
                    <a:pos x="T4" y="T5"/>
                  </a:cxn>
                  <a:cxn ang="0">
                    <a:pos x="T6" y="T7"/>
                  </a:cxn>
                  <a:cxn ang="0">
                    <a:pos x="T8" y="T9"/>
                  </a:cxn>
                  <a:cxn ang="0">
                    <a:pos x="T10" y="T11"/>
                  </a:cxn>
                  <a:cxn ang="0">
                    <a:pos x="T12" y="T13"/>
                  </a:cxn>
                </a:cxnLst>
                <a:rect l="0" t="0" r="r" b="b"/>
                <a:pathLst>
                  <a:path w="81" h="102">
                    <a:moveTo>
                      <a:pt x="81" y="102"/>
                    </a:moveTo>
                    <a:lnTo>
                      <a:pt x="0" y="102"/>
                    </a:lnTo>
                    <a:lnTo>
                      <a:pt x="0" y="93"/>
                    </a:lnTo>
                    <a:lnTo>
                      <a:pt x="72" y="93"/>
                    </a:lnTo>
                    <a:lnTo>
                      <a:pt x="72" y="0"/>
                    </a:lnTo>
                    <a:lnTo>
                      <a:pt x="81" y="0"/>
                    </a:lnTo>
                    <a:lnTo>
                      <a:pt x="81" y="102"/>
                    </a:ln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grpSp>
      </p:grpSp>
      <p:grpSp>
        <p:nvGrpSpPr>
          <p:cNvPr id="36" name="Group 35" descr="search icon">
            <a:extLst>
              <a:ext uri="{FF2B5EF4-FFF2-40B4-BE49-F238E27FC236}">
                <a16:creationId xmlns:a16="http://schemas.microsoft.com/office/drawing/2014/main" id="{687B6C54-1790-E64F-C35E-76DA0084E125}"/>
              </a:ext>
            </a:extLst>
          </p:cNvPr>
          <p:cNvGrpSpPr/>
          <p:nvPr/>
        </p:nvGrpSpPr>
        <p:grpSpPr>
          <a:xfrm>
            <a:off x="10965805" y="4109091"/>
            <a:ext cx="823913" cy="823912"/>
            <a:chOff x="744537" y="3975887"/>
            <a:chExt cx="823913" cy="823912"/>
          </a:xfrm>
          <a:solidFill>
            <a:schemeClr val="bg1"/>
          </a:solidFill>
        </p:grpSpPr>
        <p:sp>
          <p:nvSpPr>
            <p:cNvPr id="37" name="Oval 68">
              <a:extLst>
                <a:ext uri="{FF2B5EF4-FFF2-40B4-BE49-F238E27FC236}">
                  <a16:creationId xmlns:a16="http://schemas.microsoft.com/office/drawing/2014/main" id="{B380DB8B-E26A-8E61-2773-43637836E1B1}"/>
                </a:ext>
                <a:ext uri="{C183D7F6-B498-43B3-948B-1728B52AA6E4}">
                  <adec:decorative xmlns:adec="http://schemas.microsoft.com/office/drawing/2017/decorative" val="1"/>
                </a:ext>
              </a:extLst>
            </p:cNvPr>
            <p:cNvSpPr>
              <a:spLocks noChangeArrowheads="1"/>
            </p:cNvSpPr>
            <p:nvPr/>
          </p:nvSpPr>
          <p:spPr bwMode="auto">
            <a:xfrm>
              <a:off x="744537" y="3975887"/>
              <a:ext cx="823913" cy="823912"/>
            </a:xfrm>
            <a:prstGeom prst="ellipse">
              <a:avLst/>
            </a:prstGeom>
            <a:grpFill/>
            <a:ln w="57150">
              <a:noFill/>
              <a:round/>
              <a:headEnd/>
              <a:tailEnd/>
            </a:ln>
          </p:spPr>
          <p:txBody>
            <a:bodyPr/>
            <a:lstStyle/>
            <a:p>
              <a:pPr eaLnBrk="1" fontAlgn="auto" hangingPunct="1">
                <a:spcBef>
                  <a:spcPts val="0"/>
                </a:spcBef>
                <a:spcAft>
                  <a:spcPts val="0"/>
                </a:spcAft>
                <a:defRPr/>
              </a:pPr>
              <a:endParaRPr lang="en-US" dirty="0">
                <a:latin typeface="+mn-lt"/>
              </a:endParaRPr>
            </a:p>
          </p:txBody>
        </p:sp>
        <p:grpSp>
          <p:nvGrpSpPr>
            <p:cNvPr id="38" name="Group 37" descr="Unlock">
              <a:extLst>
                <a:ext uri="{FF2B5EF4-FFF2-40B4-BE49-F238E27FC236}">
                  <a16:creationId xmlns:a16="http://schemas.microsoft.com/office/drawing/2014/main" id="{31961FAE-21E7-F95B-70E1-CB3C7A6E0466}"/>
                </a:ext>
              </a:extLst>
            </p:cNvPr>
            <p:cNvGrpSpPr/>
            <p:nvPr/>
          </p:nvGrpSpPr>
          <p:grpSpPr bwMode="auto">
            <a:xfrm>
              <a:off x="993177" y="4210484"/>
              <a:ext cx="360941" cy="337455"/>
              <a:chOff x="6955211" y="4365185"/>
              <a:chExt cx="360941" cy="337455"/>
            </a:xfrm>
            <a:grpFill/>
          </p:grpSpPr>
          <p:sp>
            <p:nvSpPr>
              <p:cNvPr id="39" name="Freeform 188">
                <a:extLst>
                  <a:ext uri="{FF2B5EF4-FFF2-40B4-BE49-F238E27FC236}">
                    <a16:creationId xmlns:a16="http://schemas.microsoft.com/office/drawing/2014/main" id="{EA3947DC-A4F0-4BBD-41F0-EA78C084B8E8}"/>
                  </a:ext>
                </a:extLst>
              </p:cNvPr>
              <p:cNvSpPr>
                <a:spLocks/>
              </p:cNvSpPr>
              <p:nvPr/>
            </p:nvSpPr>
            <p:spPr bwMode="auto">
              <a:xfrm>
                <a:off x="6955211" y="4365185"/>
                <a:ext cx="337455" cy="337455"/>
              </a:xfrm>
              <a:custGeom>
                <a:avLst/>
                <a:gdLst>
                  <a:gd name="T0" fmla="*/ 88 w 177"/>
                  <a:gd name="T1" fmla="*/ 177 h 177"/>
                  <a:gd name="T2" fmla="*/ 26 w 177"/>
                  <a:gd name="T3" fmla="*/ 151 h 177"/>
                  <a:gd name="T4" fmla="*/ 0 w 177"/>
                  <a:gd name="T5" fmla="*/ 89 h 177"/>
                  <a:gd name="T6" fmla="*/ 26 w 177"/>
                  <a:gd name="T7" fmla="*/ 27 h 177"/>
                  <a:gd name="T8" fmla="*/ 88 w 177"/>
                  <a:gd name="T9" fmla="*/ 0 h 177"/>
                  <a:gd name="T10" fmla="*/ 88 w 177"/>
                  <a:gd name="T11" fmla="*/ 0 h 177"/>
                  <a:gd name="T12" fmla="*/ 177 w 177"/>
                  <a:gd name="T13" fmla="*/ 88 h 177"/>
                  <a:gd name="T14" fmla="*/ 171 w 177"/>
                  <a:gd name="T15" fmla="*/ 88 h 177"/>
                  <a:gd name="T16" fmla="*/ 88 w 177"/>
                  <a:gd name="T17" fmla="*/ 6 h 177"/>
                  <a:gd name="T18" fmla="*/ 88 w 177"/>
                  <a:gd name="T19" fmla="*/ 6 h 177"/>
                  <a:gd name="T20" fmla="*/ 30 w 177"/>
                  <a:gd name="T21" fmla="*/ 31 h 177"/>
                  <a:gd name="T22" fmla="*/ 6 w 177"/>
                  <a:gd name="T23" fmla="*/ 89 h 177"/>
                  <a:gd name="T24" fmla="*/ 31 w 177"/>
                  <a:gd name="T25" fmla="*/ 147 h 177"/>
                  <a:gd name="T26" fmla="*/ 88 w 177"/>
                  <a:gd name="T27" fmla="*/ 171 h 177"/>
                  <a:gd name="T28" fmla="*/ 89 w 177"/>
                  <a:gd name="T29" fmla="*/ 171 h 177"/>
                  <a:gd name="T30" fmla="*/ 155 w 177"/>
                  <a:gd name="T31" fmla="*/ 136 h 177"/>
                  <a:gd name="T32" fmla="*/ 160 w 177"/>
                  <a:gd name="T33" fmla="*/ 140 h 177"/>
                  <a:gd name="T34" fmla="*/ 89 w 177"/>
                  <a:gd name="T35" fmla="*/ 177 h 177"/>
                  <a:gd name="T36" fmla="*/ 88 w 177"/>
                  <a:gd name="T37" fmla="*/ 177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77" h="177">
                    <a:moveTo>
                      <a:pt x="88" y="177"/>
                    </a:moveTo>
                    <a:cubicBezTo>
                      <a:pt x="65" y="177"/>
                      <a:pt x="43" y="168"/>
                      <a:pt x="26" y="151"/>
                    </a:cubicBezTo>
                    <a:cubicBezTo>
                      <a:pt x="10" y="135"/>
                      <a:pt x="0" y="113"/>
                      <a:pt x="0" y="89"/>
                    </a:cubicBezTo>
                    <a:cubicBezTo>
                      <a:pt x="0" y="66"/>
                      <a:pt x="9" y="43"/>
                      <a:pt x="26" y="27"/>
                    </a:cubicBezTo>
                    <a:cubicBezTo>
                      <a:pt x="42" y="10"/>
                      <a:pt x="64" y="1"/>
                      <a:pt x="88" y="0"/>
                    </a:cubicBezTo>
                    <a:cubicBezTo>
                      <a:pt x="88" y="0"/>
                      <a:pt x="88" y="0"/>
                      <a:pt x="88" y="0"/>
                    </a:cubicBezTo>
                    <a:cubicBezTo>
                      <a:pt x="137" y="0"/>
                      <a:pt x="176" y="40"/>
                      <a:pt x="177" y="88"/>
                    </a:cubicBezTo>
                    <a:cubicBezTo>
                      <a:pt x="171" y="88"/>
                      <a:pt x="171" y="88"/>
                      <a:pt x="171" y="88"/>
                    </a:cubicBezTo>
                    <a:cubicBezTo>
                      <a:pt x="170" y="43"/>
                      <a:pt x="133" y="6"/>
                      <a:pt x="88" y="6"/>
                    </a:cubicBezTo>
                    <a:cubicBezTo>
                      <a:pt x="88" y="6"/>
                      <a:pt x="88" y="6"/>
                      <a:pt x="88" y="6"/>
                    </a:cubicBezTo>
                    <a:cubicBezTo>
                      <a:pt x="66" y="7"/>
                      <a:pt x="45" y="15"/>
                      <a:pt x="30" y="31"/>
                    </a:cubicBezTo>
                    <a:cubicBezTo>
                      <a:pt x="14" y="46"/>
                      <a:pt x="6" y="67"/>
                      <a:pt x="6" y="89"/>
                    </a:cubicBezTo>
                    <a:cubicBezTo>
                      <a:pt x="6" y="111"/>
                      <a:pt x="15" y="132"/>
                      <a:pt x="31" y="147"/>
                    </a:cubicBezTo>
                    <a:cubicBezTo>
                      <a:pt x="46" y="162"/>
                      <a:pt x="67" y="171"/>
                      <a:pt x="88" y="171"/>
                    </a:cubicBezTo>
                    <a:cubicBezTo>
                      <a:pt x="88" y="171"/>
                      <a:pt x="89" y="171"/>
                      <a:pt x="89" y="171"/>
                    </a:cubicBezTo>
                    <a:cubicBezTo>
                      <a:pt x="115" y="171"/>
                      <a:pt x="140" y="158"/>
                      <a:pt x="155" y="136"/>
                    </a:cubicBezTo>
                    <a:cubicBezTo>
                      <a:pt x="160" y="140"/>
                      <a:pt x="160" y="140"/>
                      <a:pt x="160" y="140"/>
                    </a:cubicBezTo>
                    <a:cubicBezTo>
                      <a:pt x="144" y="163"/>
                      <a:pt x="117" y="177"/>
                      <a:pt x="89" y="177"/>
                    </a:cubicBezTo>
                    <a:cubicBezTo>
                      <a:pt x="89" y="177"/>
                      <a:pt x="89" y="177"/>
                      <a:pt x="88" y="177"/>
                    </a:cubicBezTo>
                    <a:close/>
                  </a:path>
                </a:pathLst>
              </a:custGeom>
              <a:grpFill/>
              <a:ln w="952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0" name="Freeform 189">
                <a:extLst>
                  <a:ext uri="{FF2B5EF4-FFF2-40B4-BE49-F238E27FC236}">
                    <a16:creationId xmlns:a16="http://schemas.microsoft.com/office/drawing/2014/main" id="{3CF09D77-F139-589A-402B-7F84A005143C}"/>
                  </a:ext>
                </a:extLst>
              </p:cNvPr>
              <p:cNvSpPr>
                <a:spLocks/>
              </p:cNvSpPr>
              <p:nvPr/>
            </p:nvSpPr>
            <p:spPr bwMode="auto">
              <a:xfrm>
                <a:off x="7241986" y="4491267"/>
                <a:ext cx="74166" cy="66749"/>
              </a:xfrm>
              <a:custGeom>
                <a:avLst/>
                <a:gdLst>
                  <a:gd name="T0" fmla="*/ 0 w 60"/>
                  <a:gd name="T1" fmla="*/ 0 h 54"/>
                  <a:gd name="T2" fmla="*/ 31 w 60"/>
                  <a:gd name="T3" fmla="*/ 54 h 54"/>
                  <a:gd name="T4" fmla="*/ 60 w 60"/>
                  <a:gd name="T5" fmla="*/ 0 h 54"/>
                  <a:gd name="T6" fmla="*/ 0 w 60"/>
                  <a:gd name="T7" fmla="*/ 0 h 54"/>
                </a:gdLst>
                <a:ahLst/>
                <a:cxnLst>
                  <a:cxn ang="0">
                    <a:pos x="T0" y="T1"/>
                  </a:cxn>
                  <a:cxn ang="0">
                    <a:pos x="T2" y="T3"/>
                  </a:cxn>
                  <a:cxn ang="0">
                    <a:pos x="T4" y="T5"/>
                  </a:cxn>
                  <a:cxn ang="0">
                    <a:pos x="T6" y="T7"/>
                  </a:cxn>
                </a:cxnLst>
                <a:rect l="0" t="0" r="r" b="b"/>
                <a:pathLst>
                  <a:path w="60" h="54">
                    <a:moveTo>
                      <a:pt x="0" y="0"/>
                    </a:moveTo>
                    <a:lnTo>
                      <a:pt x="31" y="54"/>
                    </a:lnTo>
                    <a:lnTo>
                      <a:pt x="60" y="0"/>
                    </a:lnTo>
                    <a:lnTo>
                      <a:pt x="0" y="0"/>
                    </a:lnTo>
                    <a:close/>
                  </a:path>
                </a:pathLst>
              </a:custGeom>
              <a:grpFill/>
              <a:ln w="952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1" name="Freeform 190">
                <a:extLst>
                  <a:ext uri="{FF2B5EF4-FFF2-40B4-BE49-F238E27FC236}">
                    <a16:creationId xmlns:a16="http://schemas.microsoft.com/office/drawing/2014/main" id="{DF1C3F24-8703-6BE4-9364-F8F863E7757D}"/>
                  </a:ext>
                </a:extLst>
              </p:cNvPr>
              <p:cNvSpPr>
                <a:spLocks noEditPoints="1"/>
              </p:cNvSpPr>
              <p:nvPr/>
            </p:nvSpPr>
            <p:spPr bwMode="auto">
              <a:xfrm>
                <a:off x="7077585" y="4452947"/>
                <a:ext cx="91471" cy="76638"/>
              </a:xfrm>
              <a:custGeom>
                <a:avLst/>
                <a:gdLst>
                  <a:gd name="T0" fmla="*/ 1 w 48"/>
                  <a:gd name="T1" fmla="*/ 40 h 40"/>
                  <a:gd name="T2" fmla="*/ 0 w 48"/>
                  <a:gd name="T3" fmla="*/ 24 h 40"/>
                  <a:gd name="T4" fmla="*/ 24 w 48"/>
                  <a:gd name="T5" fmla="*/ 0 h 40"/>
                  <a:gd name="T6" fmla="*/ 48 w 48"/>
                  <a:gd name="T7" fmla="*/ 23 h 40"/>
                  <a:gd name="T8" fmla="*/ 48 w 48"/>
                  <a:gd name="T9" fmla="*/ 40 h 40"/>
                  <a:gd name="T10" fmla="*/ 1 w 48"/>
                  <a:gd name="T11" fmla="*/ 40 h 40"/>
                  <a:gd name="T12" fmla="*/ 24 w 48"/>
                  <a:gd name="T13" fmla="*/ 6 h 40"/>
                  <a:gd name="T14" fmla="*/ 6 w 48"/>
                  <a:gd name="T15" fmla="*/ 24 h 40"/>
                  <a:gd name="T16" fmla="*/ 7 w 48"/>
                  <a:gd name="T17" fmla="*/ 34 h 40"/>
                  <a:gd name="T18" fmla="*/ 42 w 48"/>
                  <a:gd name="T19" fmla="*/ 34 h 40"/>
                  <a:gd name="T20" fmla="*/ 42 w 48"/>
                  <a:gd name="T21" fmla="*/ 23 h 40"/>
                  <a:gd name="T22" fmla="*/ 24 w 48"/>
                  <a:gd name="T23" fmla="*/ 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8" h="40">
                    <a:moveTo>
                      <a:pt x="1" y="40"/>
                    </a:moveTo>
                    <a:cubicBezTo>
                      <a:pt x="0" y="24"/>
                      <a:pt x="0" y="24"/>
                      <a:pt x="0" y="24"/>
                    </a:cubicBezTo>
                    <a:cubicBezTo>
                      <a:pt x="0" y="11"/>
                      <a:pt x="11" y="0"/>
                      <a:pt x="24" y="0"/>
                    </a:cubicBezTo>
                    <a:cubicBezTo>
                      <a:pt x="37" y="0"/>
                      <a:pt x="48" y="10"/>
                      <a:pt x="48" y="23"/>
                    </a:cubicBezTo>
                    <a:cubicBezTo>
                      <a:pt x="48" y="40"/>
                      <a:pt x="48" y="40"/>
                      <a:pt x="48" y="40"/>
                    </a:cubicBezTo>
                    <a:lnTo>
                      <a:pt x="1" y="40"/>
                    </a:lnTo>
                    <a:close/>
                    <a:moveTo>
                      <a:pt x="24" y="6"/>
                    </a:moveTo>
                    <a:cubicBezTo>
                      <a:pt x="14" y="6"/>
                      <a:pt x="6" y="14"/>
                      <a:pt x="6" y="24"/>
                    </a:cubicBezTo>
                    <a:cubicBezTo>
                      <a:pt x="7" y="34"/>
                      <a:pt x="7" y="34"/>
                      <a:pt x="7" y="34"/>
                    </a:cubicBezTo>
                    <a:cubicBezTo>
                      <a:pt x="42" y="34"/>
                      <a:pt x="42" y="34"/>
                      <a:pt x="42" y="34"/>
                    </a:cubicBezTo>
                    <a:cubicBezTo>
                      <a:pt x="42" y="23"/>
                      <a:pt x="42" y="23"/>
                      <a:pt x="42" y="23"/>
                    </a:cubicBezTo>
                    <a:cubicBezTo>
                      <a:pt x="42" y="14"/>
                      <a:pt x="34" y="6"/>
                      <a:pt x="24" y="6"/>
                    </a:cubicBezTo>
                    <a:close/>
                  </a:path>
                </a:pathLst>
              </a:custGeom>
              <a:grpFill/>
              <a:ln w="952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2" name="Freeform 191">
                <a:extLst>
                  <a:ext uri="{FF2B5EF4-FFF2-40B4-BE49-F238E27FC236}">
                    <a16:creationId xmlns:a16="http://schemas.microsoft.com/office/drawing/2014/main" id="{1DE81C7A-C97B-97B8-B392-DBCDDA5F8A07}"/>
                  </a:ext>
                </a:extLst>
              </p:cNvPr>
              <p:cNvSpPr>
                <a:spLocks noEditPoints="1"/>
              </p:cNvSpPr>
              <p:nvPr/>
            </p:nvSpPr>
            <p:spPr bwMode="auto">
              <a:xfrm>
                <a:off x="7059043" y="4517225"/>
                <a:ext cx="131026" cy="100124"/>
              </a:xfrm>
              <a:custGeom>
                <a:avLst/>
                <a:gdLst>
                  <a:gd name="T0" fmla="*/ 5 w 69"/>
                  <a:gd name="T1" fmla="*/ 52 h 52"/>
                  <a:gd name="T2" fmla="*/ 5 w 69"/>
                  <a:gd name="T3" fmla="*/ 52 h 52"/>
                  <a:gd name="T4" fmla="*/ 1 w 69"/>
                  <a:gd name="T5" fmla="*/ 47 h 52"/>
                  <a:gd name="T6" fmla="*/ 0 w 69"/>
                  <a:gd name="T7" fmla="*/ 4 h 52"/>
                  <a:gd name="T8" fmla="*/ 5 w 69"/>
                  <a:gd name="T9" fmla="*/ 0 h 52"/>
                  <a:gd name="T10" fmla="*/ 64 w 69"/>
                  <a:gd name="T11" fmla="*/ 0 h 52"/>
                  <a:gd name="T12" fmla="*/ 68 w 69"/>
                  <a:gd name="T13" fmla="*/ 4 h 52"/>
                  <a:gd name="T14" fmla="*/ 69 w 69"/>
                  <a:gd name="T15" fmla="*/ 47 h 52"/>
                  <a:gd name="T16" fmla="*/ 67 w 69"/>
                  <a:gd name="T17" fmla="*/ 50 h 52"/>
                  <a:gd name="T18" fmla="*/ 64 w 69"/>
                  <a:gd name="T19" fmla="*/ 51 h 52"/>
                  <a:gd name="T20" fmla="*/ 5 w 69"/>
                  <a:gd name="T21" fmla="*/ 52 h 52"/>
                  <a:gd name="T22" fmla="*/ 6 w 69"/>
                  <a:gd name="T23" fmla="*/ 6 h 52"/>
                  <a:gd name="T24" fmla="*/ 7 w 69"/>
                  <a:gd name="T25" fmla="*/ 46 h 52"/>
                  <a:gd name="T26" fmla="*/ 62 w 69"/>
                  <a:gd name="T27" fmla="*/ 45 h 52"/>
                  <a:gd name="T28" fmla="*/ 62 w 69"/>
                  <a:gd name="T29" fmla="*/ 6 h 52"/>
                  <a:gd name="T30" fmla="*/ 6 w 69"/>
                  <a:gd name="T31" fmla="*/ 6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9" h="52">
                    <a:moveTo>
                      <a:pt x="5" y="52"/>
                    </a:moveTo>
                    <a:cubicBezTo>
                      <a:pt x="5" y="52"/>
                      <a:pt x="5" y="52"/>
                      <a:pt x="5" y="52"/>
                    </a:cubicBezTo>
                    <a:cubicBezTo>
                      <a:pt x="3" y="52"/>
                      <a:pt x="1" y="50"/>
                      <a:pt x="1" y="47"/>
                    </a:cubicBezTo>
                    <a:cubicBezTo>
                      <a:pt x="0" y="4"/>
                      <a:pt x="0" y="4"/>
                      <a:pt x="0" y="4"/>
                    </a:cubicBezTo>
                    <a:cubicBezTo>
                      <a:pt x="0" y="2"/>
                      <a:pt x="2" y="0"/>
                      <a:pt x="5" y="0"/>
                    </a:cubicBezTo>
                    <a:cubicBezTo>
                      <a:pt x="64" y="0"/>
                      <a:pt x="64" y="0"/>
                      <a:pt x="64" y="0"/>
                    </a:cubicBezTo>
                    <a:cubicBezTo>
                      <a:pt x="66" y="0"/>
                      <a:pt x="68" y="2"/>
                      <a:pt x="68" y="4"/>
                    </a:cubicBezTo>
                    <a:cubicBezTo>
                      <a:pt x="69" y="47"/>
                      <a:pt x="69" y="47"/>
                      <a:pt x="69" y="47"/>
                    </a:cubicBezTo>
                    <a:cubicBezTo>
                      <a:pt x="69" y="48"/>
                      <a:pt x="68" y="49"/>
                      <a:pt x="67" y="50"/>
                    </a:cubicBezTo>
                    <a:cubicBezTo>
                      <a:pt x="66" y="51"/>
                      <a:pt x="65" y="51"/>
                      <a:pt x="64" y="51"/>
                    </a:cubicBezTo>
                    <a:lnTo>
                      <a:pt x="5" y="52"/>
                    </a:lnTo>
                    <a:close/>
                    <a:moveTo>
                      <a:pt x="6" y="6"/>
                    </a:moveTo>
                    <a:cubicBezTo>
                      <a:pt x="7" y="46"/>
                      <a:pt x="7" y="46"/>
                      <a:pt x="7" y="46"/>
                    </a:cubicBezTo>
                    <a:cubicBezTo>
                      <a:pt x="62" y="45"/>
                      <a:pt x="62" y="45"/>
                      <a:pt x="62" y="45"/>
                    </a:cubicBezTo>
                    <a:cubicBezTo>
                      <a:pt x="62" y="6"/>
                      <a:pt x="62" y="6"/>
                      <a:pt x="62" y="6"/>
                    </a:cubicBezTo>
                    <a:lnTo>
                      <a:pt x="6" y="6"/>
                    </a:lnTo>
                    <a:close/>
                  </a:path>
                </a:pathLst>
              </a:custGeom>
              <a:grpFill/>
              <a:ln w="952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grpSp>
      </p:grpSp>
      <p:grpSp>
        <p:nvGrpSpPr>
          <p:cNvPr id="43" name="Group 42" descr="tools icon">
            <a:extLst>
              <a:ext uri="{FF2B5EF4-FFF2-40B4-BE49-F238E27FC236}">
                <a16:creationId xmlns:a16="http://schemas.microsoft.com/office/drawing/2014/main" id="{3B45C904-9ACC-B1CD-AC94-A5F94AF041AF}"/>
              </a:ext>
            </a:extLst>
          </p:cNvPr>
          <p:cNvGrpSpPr/>
          <p:nvPr/>
        </p:nvGrpSpPr>
        <p:grpSpPr>
          <a:xfrm>
            <a:off x="10934055" y="5079052"/>
            <a:ext cx="823913" cy="823912"/>
            <a:chOff x="712787" y="4945848"/>
            <a:chExt cx="823913" cy="823912"/>
          </a:xfrm>
          <a:solidFill>
            <a:schemeClr val="bg1"/>
          </a:solidFill>
        </p:grpSpPr>
        <p:sp>
          <p:nvSpPr>
            <p:cNvPr id="44" name="Oval 68">
              <a:extLst>
                <a:ext uri="{FF2B5EF4-FFF2-40B4-BE49-F238E27FC236}">
                  <a16:creationId xmlns:a16="http://schemas.microsoft.com/office/drawing/2014/main" id="{30FC6696-8ED2-5800-8AD1-C2F5C1FCEEDC}"/>
                </a:ext>
                <a:ext uri="{C183D7F6-B498-43B3-948B-1728B52AA6E4}">
                  <adec:decorative xmlns:adec="http://schemas.microsoft.com/office/drawing/2017/decorative" val="1"/>
                </a:ext>
              </a:extLst>
            </p:cNvPr>
            <p:cNvSpPr>
              <a:spLocks noChangeArrowheads="1"/>
            </p:cNvSpPr>
            <p:nvPr/>
          </p:nvSpPr>
          <p:spPr bwMode="auto">
            <a:xfrm>
              <a:off x="712787" y="4945848"/>
              <a:ext cx="823913" cy="823912"/>
            </a:xfrm>
            <a:prstGeom prst="ellipse">
              <a:avLst/>
            </a:prstGeom>
            <a:grpFill/>
            <a:ln w="57150">
              <a:noFill/>
              <a:round/>
              <a:headEnd/>
              <a:tailEnd/>
            </a:ln>
          </p:spPr>
          <p:txBody>
            <a:bodyPr/>
            <a:lstStyle/>
            <a:p>
              <a:pPr eaLnBrk="1" fontAlgn="auto" hangingPunct="1">
                <a:spcBef>
                  <a:spcPts val="0"/>
                </a:spcBef>
                <a:spcAft>
                  <a:spcPts val="0"/>
                </a:spcAft>
                <a:defRPr/>
              </a:pPr>
              <a:endParaRPr lang="en-US" dirty="0">
                <a:latin typeface="+mn-lt"/>
              </a:endParaRPr>
            </a:p>
          </p:txBody>
        </p:sp>
        <p:grpSp>
          <p:nvGrpSpPr>
            <p:cNvPr id="45" name="Group 44" descr="Mechanics">
              <a:extLst>
                <a:ext uri="{FF2B5EF4-FFF2-40B4-BE49-F238E27FC236}">
                  <a16:creationId xmlns:a16="http://schemas.microsoft.com/office/drawing/2014/main" id="{6B0F16DB-169E-EC84-058E-2EA7335875D9}"/>
                </a:ext>
              </a:extLst>
            </p:cNvPr>
            <p:cNvGrpSpPr/>
            <p:nvPr/>
          </p:nvGrpSpPr>
          <p:grpSpPr bwMode="auto">
            <a:xfrm>
              <a:off x="925095" y="5165730"/>
              <a:ext cx="396000" cy="396000"/>
              <a:chOff x="5508977" y="3649484"/>
              <a:chExt cx="331274" cy="323857"/>
            </a:xfrm>
            <a:grpFill/>
          </p:grpSpPr>
          <p:sp>
            <p:nvSpPr>
              <p:cNvPr id="46" name="Freeform 129">
                <a:extLst>
                  <a:ext uri="{FF2B5EF4-FFF2-40B4-BE49-F238E27FC236}">
                    <a16:creationId xmlns:a16="http://schemas.microsoft.com/office/drawing/2014/main" id="{0B8AAE0D-A0CC-6781-4119-45DC8DA00CC2}"/>
                  </a:ext>
                </a:extLst>
              </p:cNvPr>
              <p:cNvSpPr>
                <a:spLocks noEditPoints="1"/>
              </p:cNvSpPr>
              <p:nvPr/>
            </p:nvSpPr>
            <p:spPr bwMode="auto">
              <a:xfrm>
                <a:off x="5678322" y="3828718"/>
                <a:ext cx="161929" cy="144623"/>
              </a:xfrm>
              <a:custGeom>
                <a:avLst/>
                <a:gdLst>
                  <a:gd name="T0" fmla="*/ 60 w 85"/>
                  <a:gd name="T1" fmla="*/ 76 h 76"/>
                  <a:gd name="T2" fmla="*/ 60 w 85"/>
                  <a:gd name="T3" fmla="*/ 76 h 76"/>
                  <a:gd name="T4" fmla="*/ 52 w 85"/>
                  <a:gd name="T5" fmla="*/ 73 h 76"/>
                  <a:gd name="T6" fmla="*/ 0 w 85"/>
                  <a:gd name="T7" fmla="*/ 22 h 76"/>
                  <a:gd name="T8" fmla="*/ 13 w 85"/>
                  <a:gd name="T9" fmla="*/ 9 h 76"/>
                  <a:gd name="T10" fmla="*/ 30 w 85"/>
                  <a:gd name="T11" fmla="*/ 1 h 76"/>
                  <a:gd name="T12" fmla="*/ 33 w 85"/>
                  <a:gd name="T13" fmla="*/ 0 h 76"/>
                  <a:gd name="T14" fmla="*/ 79 w 85"/>
                  <a:gd name="T15" fmla="*/ 46 h 76"/>
                  <a:gd name="T16" fmla="*/ 74 w 85"/>
                  <a:gd name="T17" fmla="*/ 69 h 76"/>
                  <a:gd name="T18" fmla="*/ 60 w 85"/>
                  <a:gd name="T19" fmla="*/ 76 h 76"/>
                  <a:gd name="T20" fmla="*/ 58 w 85"/>
                  <a:gd name="T21" fmla="*/ 68 h 76"/>
                  <a:gd name="T22" fmla="*/ 60 w 85"/>
                  <a:gd name="T23" fmla="*/ 68 h 76"/>
                  <a:gd name="T24" fmla="*/ 68 w 85"/>
                  <a:gd name="T25" fmla="*/ 63 h 76"/>
                  <a:gd name="T26" fmla="*/ 73 w 85"/>
                  <a:gd name="T27" fmla="*/ 52 h 76"/>
                  <a:gd name="T28" fmla="*/ 30 w 85"/>
                  <a:gd name="T29" fmla="*/ 9 h 76"/>
                  <a:gd name="T30" fmla="*/ 18 w 85"/>
                  <a:gd name="T31" fmla="*/ 14 h 76"/>
                  <a:gd name="T32" fmla="*/ 11 w 85"/>
                  <a:gd name="T33" fmla="*/ 21 h 76"/>
                  <a:gd name="T34" fmla="*/ 58 w 85"/>
                  <a:gd name="T35" fmla="*/ 68 h 76"/>
                  <a:gd name="T36" fmla="*/ 58 w 85"/>
                  <a:gd name="T37" fmla="*/ 68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5" h="76">
                    <a:moveTo>
                      <a:pt x="60" y="76"/>
                    </a:moveTo>
                    <a:cubicBezTo>
                      <a:pt x="60" y="76"/>
                      <a:pt x="60" y="76"/>
                      <a:pt x="60" y="76"/>
                    </a:cubicBezTo>
                    <a:cubicBezTo>
                      <a:pt x="55" y="76"/>
                      <a:pt x="52" y="74"/>
                      <a:pt x="52" y="73"/>
                    </a:cubicBezTo>
                    <a:cubicBezTo>
                      <a:pt x="0" y="22"/>
                      <a:pt x="0" y="22"/>
                      <a:pt x="0" y="22"/>
                    </a:cubicBezTo>
                    <a:cubicBezTo>
                      <a:pt x="13" y="9"/>
                      <a:pt x="13" y="9"/>
                      <a:pt x="13" y="9"/>
                    </a:cubicBezTo>
                    <a:cubicBezTo>
                      <a:pt x="14" y="8"/>
                      <a:pt x="17" y="5"/>
                      <a:pt x="30" y="1"/>
                    </a:cubicBezTo>
                    <a:cubicBezTo>
                      <a:pt x="33" y="0"/>
                      <a:pt x="33" y="0"/>
                      <a:pt x="33" y="0"/>
                    </a:cubicBezTo>
                    <a:cubicBezTo>
                      <a:pt x="79" y="46"/>
                      <a:pt x="79" y="46"/>
                      <a:pt x="79" y="46"/>
                    </a:cubicBezTo>
                    <a:cubicBezTo>
                      <a:pt x="82" y="49"/>
                      <a:pt x="85" y="58"/>
                      <a:pt x="74" y="69"/>
                    </a:cubicBezTo>
                    <a:cubicBezTo>
                      <a:pt x="69" y="74"/>
                      <a:pt x="64" y="76"/>
                      <a:pt x="60" y="76"/>
                    </a:cubicBezTo>
                    <a:close/>
                    <a:moveTo>
                      <a:pt x="58" y="68"/>
                    </a:moveTo>
                    <a:cubicBezTo>
                      <a:pt x="58" y="68"/>
                      <a:pt x="58" y="68"/>
                      <a:pt x="60" y="68"/>
                    </a:cubicBezTo>
                    <a:cubicBezTo>
                      <a:pt x="62" y="68"/>
                      <a:pt x="65" y="66"/>
                      <a:pt x="68" y="63"/>
                    </a:cubicBezTo>
                    <a:cubicBezTo>
                      <a:pt x="76" y="56"/>
                      <a:pt x="73" y="52"/>
                      <a:pt x="73" y="52"/>
                    </a:cubicBezTo>
                    <a:cubicBezTo>
                      <a:pt x="30" y="9"/>
                      <a:pt x="30" y="9"/>
                      <a:pt x="30" y="9"/>
                    </a:cubicBezTo>
                    <a:cubicBezTo>
                      <a:pt x="21" y="12"/>
                      <a:pt x="19" y="14"/>
                      <a:pt x="18" y="14"/>
                    </a:cubicBezTo>
                    <a:cubicBezTo>
                      <a:pt x="11" y="21"/>
                      <a:pt x="11" y="21"/>
                      <a:pt x="11" y="21"/>
                    </a:cubicBezTo>
                    <a:cubicBezTo>
                      <a:pt x="58" y="68"/>
                      <a:pt x="58" y="68"/>
                      <a:pt x="58" y="68"/>
                    </a:cubicBezTo>
                    <a:cubicBezTo>
                      <a:pt x="58" y="68"/>
                      <a:pt x="58" y="68"/>
                      <a:pt x="58" y="68"/>
                    </a:cubicBezTo>
                    <a:close/>
                  </a:path>
                </a:pathLst>
              </a:custGeom>
              <a:grpFill/>
              <a:ln w="317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7" name="Freeform 130">
                <a:extLst>
                  <a:ext uri="{FF2B5EF4-FFF2-40B4-BE49-F238E27FC236}">
                    <a16:creationId xmlns:a16="http://schemas.microsoft.com/office/drawing/2014/main" id="{C4AA161E-775B-9704-92E4-4BAC4DDBBBE7}"/>
                  </a:ext>
                </a:extLst>
              </p:cNvPr>
              <p:cNvSpPr>
                <a:spLocks noEditPoints="1"/>
              </p:cNvSpPr>
              <p:nvPr/>
            </p:nvSpPr>
            <p:spPr bwMode="auto">
              <a:xfrm>
                <a:off x="5508977" y="3649484"/>
                <a:ext cx="154512" cy="153276"/>
              </a:xfrm>
              <a:custGeom>
                <a:avLst/>
                <a:gdLst>
                  <a:gd name="T0" fmla="*/ 65 w 81"/>
                  <a:gd name="T1" fmla="*/ 80 h 80"/>
                  <a:gd name="T2" fmla="*/ 32 w 81"/>
                  <a:gd name="T3" fmla="*/ 47 h 80"/>
                  <a:gd name="T4" fmla="*/ 18 w 81"/>
                  <a:gd name="T5" fmla="*/ 41 h 80"/>
                  <a:gd name="T6" fmla="*/ 0 w 81"/>
                  <a:gd name="T7" fmla="*/ 15 h 80"/>
                  <a:gd name="T8" fmla="*/ 15 w 81"/>
                  <a:gd name="T9" fmla="*/ 0 h 80"/>
                  <a:gd name="T10" fmla="*/ 42 w 81"/>
                  <a:gd name="T11" fmla="*/ 17 h 80"/>
                  <a:gd name="T12" fmla="*/ 48 w 81"/>
                  <a:gd name="T13" fmla="*/ 31 h 80"/>
                  <a:gd name="T14" fmla="*/ 81 w 81"/>
                  <a:gd name="T15" fmla="*/ 64 h 80"/>
                  <a:gd name="T16" fmla="*/ 79 w 81"/>
                  <a:gd name="T17" fmla="*/ 67 h 80"/>
                  <a:gd name="T18" fmla="*/ 74 w 81"/>
                  <a:gd name="T19" fmla="*/ 72 h 80"/>
                  <a:gd name="T20" fmla="*/ 74 w 81"/>
                  <a:gd name="T21" fmla="*/ 73 h 80"/>
                  <a:gd name="T22" fmla="*/ 65 w 81"/>
                  <a:gd name="T23" fmla="*/ 80 h 80"/>
                  <a:gd name="T24" fmla="*/ 23 w 81"/>
                  <a:gd name="T25" fmla="*/ 35 h 80"/>
                  <a:gd name="T26" fmla="*/ 36 w 81"/>
                  <a:gd name="T27" fmla="*/ 41 h 80"/>
                  <a:gd name="T28" fmla="*/ 65 w 81"/>
                  <a:gd name="T29" fmla="*/ 70 h 80"/>
                  <a:gd name="T30" fmla="*/ 69 w 81"/>
                  <a:gd name="T31" fmla="*/ 66 h 80"/>
                  <a:gd name="T32" fmla="*/ 70 w 81"/>
                  <a:gd name="T33" fmla="*/ 65 h 80"/>
                  <a:gd name="T34" fmla="*/ 41 w 81"/>
                  <a:gd name="T35" fmla="*/ 36 h 80"/>
                  <a:gd name="T36" fmla="*/ 35 w 81"/>
                  <a:gd name="T37" fmla="*/ 22 h 80"/>
                  <a:gd name="T38" fmla="*/ 16 w 81"/>
                  <a:gd name="T39" fmla="*/ 10 h 80"/>
                  <a:gd name="T40" fmla="*/ 11 w 81"/>
                  <a:gd name="T41" fmla="*/ 16 h 80"/>
                  <a:gd name="T42" fmla="*/ 23 w 81"/>
                  <a:gd name="T43" fmla="*/ 35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1" h="80">
                    <a:moveTo>
                      <a:pt x="65" y="80"/>
                    </a:moveTo>
                    <a:cubicBezTo>
                      <a:pt x="32" y="47"/>
                      <a:pt x="32" y="47"/>
                      <a:pt x="32" y="47"/>
                    </a:cubicBezTo>
                    <a:cubicBezTo>
                      <a:pt x="18" y="41"/>
                      <a:pt x="18" y="41"/>
                      <a:pt x="18" y="41"/>
                    </a:cubicBezTo>
                    <a:cubicBezTo>
                      <a:pt x="0" y="15"/>
                      <a:pt x="0" y="15"/>
                      <a:pt x="0" y="15"/>
                    </a:cubicBezTo>
                    <a:cubicBezTo>
                      <a:pt x="15" y="0"/>
                      <a:pt x="15" y="0"/>
                      <a:pt x="15" y="0"/>
                    </a:cubicBezTo>
                    <a:cubicBezTo>
                      <a:pt x="42" y="17"/>
                      <a:pt x="42" y="17"/>
                      <a:pt x="42" y="17"/>
                    </a:cubicBezTo>
                    <a:cubicBezTo>
                      <a:pt x="48" y="31"/>
                      <a:pt x="48" y="31"/>
                      <a:pt x="48" y="31"/>
                    </a:cubicBezTo>
                    <a:cubicBezTo>
                      <a:pt x="81" y="64"/>
                      <a:pt x="81" y="64"/>
                      <a:pt x="81" y="64"/>
                    </a:cubicBezTo>
                    <a:cubicBezTo>
                      <a:pt x="79" y="67"/>
                      <a:pt x="79" y="67"/>
                      <a:pt x="79" y="67"/>
                    </a:cubicBezTo>
                    <a:cubicBezTo>
                      <a:pt x="77" y="69"/>
                      <a:pt x="76" y="71"/>
                      <a:pt x="74" y="72"/>
                    </a:cubicBezTo>
                    <a:cubicBezTo>
                      <a:pt x="74" y="73"/>
                      <a:pt x="74" y="73"/>
                      <a:pt x="74" y="73"/>
                    </a:cubicBezTo>
                    <a:lnTo>
                      <a:pt x="65" y="80"/>
                    </a:lnTo>
                    <a:close/>
                    <a:moveTo>
                      <a:pt x="23" y="35"/>
                    </a:moveTo>
                    <a:cubicBezTo>
                      <a:pt x="36" y="41"/>
                      <a:pt x="36" y="41"/>
                      <a:pt x="36" y="41"/>
                    </a:cubicBezTo>
                    <a:cubicBezTo>
                      <a:pt x="65" y="70"/>
                      <a:pt x="65" y="70"/>
                      <a:pt x="65" y="70"/>
                    </a:cubicBezTo>
                    <a:cubicBezTo>
                      <a:pt x="69" y="66"/>
                      <a:pt x="69" y="66"/>
                      <a:pt x="69" y="66"/>
                    </a:cubicBezTo>
                    <a:cubicBezTo>
                      <a:pt x="69" y="66"/>
                      <a:pt x="70" y="65"/>
                      <a:pt x="70" y="65"/>
                    </a:cubicBezTo>
                    <a:cubicBezTo>
                      <a:pt x="41" y="36"/>
                      <a:pt x="41" y="36"/>
                      <a:pt x="41" y="36"/>
                    </a:cubicBezTo>
                    <a:cubicBezTo>
                      <a:pt x="35" y="22"/>
                      <a:pt x="35" y="22"/>
                      <a:pt x="35" y="22"/>
                    </a:cubicBezTo>
                    <a:cubicBezTo>
                      <a:pt x="16" y="10"/>
                      <a:pt x="16" y="10"/>
                      <a:pt x="16" y="10"/>
                    </a:cubicBezTo>
                    <a:cubicBezTo>
                      <a:pt x="11" y="16"/>
                      <a:pt x="11" y="16"/>
                      <a:pt x="11" y="16"/>
                    </a:cubicBezTo>
                    <a:lnTo>
                      <a:pt x="23" y="35"/>
                    </a:lnTo>
                    <a:close/>
                  </a:path>
                </a:pathLst>
              </a:custGeom>
              <a:grpFill/>
              <a:ln w="317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8" name="Freeform 131">
                <a:extLst>
                  <a:ext uri="{FF2B5EF4-FFF2-40B4-BE49-F238E27FC236}">
                    <a16:creationId xmlns:a16="http://schemas.microsoft.com/office/drawing/2014/main" id="{CFC8005E-4EBB-D416-EE9D-B49224478123}"/>
                  </a:ext>
                </a:extLst>
              </p:cNvPr>
              <p:cNvSpPr>
                <a:spLocks noEditPoints="1"/>
              </p:cNvSpPr>
              <p:nvPr/>
            </p:nvSpPr>
            <p:spPr bwMode="auto">
              <a:xfrm>
                <a:off x="5513921" y="3670498"/>
                <a:ext cx="302844" cy="286775"/>
              </a:xfrm>
              <a:custGeom>
                <a:avLst/>
                <a:gdLst>
                  <a:gd name="T0" fmla="*/ 127 w 159"/>
                  <a:gd name="T1" fmla="*/ 4 h 150"/>
                  <a:gd name="T2" fmla="*/ 140 w 159"/>
                  <a:gd name="T3" fmla="*/ 6 h 150"/>
                  <a:gd name="T4" fmla="*/ 123 w 159"/>
                  <a:gd name="T5" fmla="*/ 13 h 150"/>
                  <a:gd name="T6" fmla="*/ 121 w 159"/>
                  <a:gd name="T7" fmla="*/ 14 h 150"/>
                  <a:gd name="T8" fmla="*/ 121 w 159"/>
                  <a:gd name="T9" fmla="*/ 16 h 150"/>
                  <a:gd name="T10" fmla="*/ 120 w 159"/>
                  <a:gd name="T11" fmla="*/ 23 h 150"/>
                  <a:gd name="T12" fmla="*/ 120 w 159"/>
                  <a:gd name="T13" fmla="*/ 24 h 150"/>
                  <a:gd name="T14" fmla="*/ 120 w 159"/>
                  <a:gd name="T15" fmla="*/ 25 h 150"/>
                  <a:gd name="T16" fmla="*/ 126 w 159"/>
                  <a:gd name="T17" fmla="*/ 39 h 150"/>
                  <a:gd name="T18" fmla="*/ 128 w 159"/>
                  <a:gd name="T19" fmla="*/ 43 h 150"/>
                  <a:gd name="T20" fmla="*/ 131 w 159"/>
                  <a:gd name="T21" fmla="*/ 41 h 150"/>
                  <a:gd name="T22" fmla="*/ 152 w 159"/>
                  <a:gd name="T23" fmla="*/ 32 h 150"/>
                  <a:gd name="T24" fmla="*/ 135 w 159"/>
                  <a:gd name="T25" fmla="*/ 50 h 150"/>
                  <a:gd name="T26" fmla="*/ 132 w 159"/>
                  <a:gd name="T27" fmla="*/ 52 h 150"/>
                  <a:gd name="T28" fmla="*/ 133 w 159"/>
                  <a:gd name="T29" fmla="*/ 56 h 150"/>
                  <a:gd name="T30" fmla="*/ 138 w 159"/>
                  <a:gd name="T31" fmla="*/ 68 h 150"/>
                  <a:gd name="T32" fmla="*/ 90 w 159"/>
                  <a:gd name="T33" fmla="*/ 83 h 150"/>
                  <a:gd name="T34" fmla="*/ 33 w 159"/>
                  <a:gd name="T35" fmla="*/ 142 h 150"/>
                  <a:gd name="T36" fmla="*/ 23 w 159"/>
                  <a:gd name="T37" fmla="*/ 146 h 150"/>
                  <a:gd name="T38" fmla="*/ 15 w 159"/>
                  <a:gd name="T39" fmla="*/ 142 h 150"/>
                  <a:gd name="T40" fmla="*/ 15 w 159"/>
                  <a:gd name="T41" fmla="*/ 123 h 150"/>
                  <a:gd name="T42" fmla="*/ 80 w 159"/>
                  <a:gd name="T43" fmla="*/ 71 h 150"/>
                  <a:gd name="T44" fmla="*/ 80 w 159"/>
                  <a:gd name="T45" fmla="*/ 71 h 150"/>
                  <a:gd name="T46" fmla="*/ 80 w 159"/>
                  <a:gd name="T47" fmla="*/ 70 h 150"/>
                  <a:gd name="T48" fmla="*/ 102 w 159"/>
                  <a:gd name="T49" fmla="*/ 23 h 150"/>
                  <a:gd name="T50" fmla="*/ 104 w 159"/>
                  <a:gd name="T51" fmla="*/ 15 h 150"/>
                  <a:gd name="T52" fmla="*/ 121 w 159"/>
                  <a:gd name="T53" fmla="*/ 4 h 150"/>
                  <a:gd name="T54" fmla="*/ 122 w 159"/>
                  <a:gd name="T55" fmla="*/ 4 h 150"/>
                  <a:gd name="T56" fmla="*/ 127 w 159"/>
                  <a:gd name="T57" fmla="*/ 4 h 150"/>
                  <a:gd name="T58" fmla="*/ 127 w 159"/>
                  <a:gd name="T59" fmla="*/ 4 h 150"/>
                  <a:gd name="T60" fmla="*/ 24 w 159"/>
                  <a:gd name="T61" fmla="*/ 142 h 150"/>
                  <a:gd name="T62" fmla="*/ 31 w 159"/>
                  <a:gd name="T63" fmla="*/ 139 h 150"/>
                  <a:gd name="T64" fmla="*/ 31 w 159"/>
                  <a:gd name="T65" fmla="*/ 125 h 150"/>
                  <a:gd name="T66" fmla="*/ 24 w 159"/>
                  <a:gd name="T67" fmla="*/ 122 h 150"/>
                  <a:gd name="T68" fmla="*/ 17 w 159"/>
                  <a:gd name="T69" fmla="*/ 125 h 150"/>
                  <a:gd name="T70" fmla="*/ 17 w 159"/>
                  <a:gd name="T71" fmla="*/ 139 h 150"/>
                  <a:gd name="T72" fmla="*/ 24 w 159"/>
                  <a:gd name="T73" fmla="*/ 142 h 150"/>
                  <a:gd name="T74" fmla="*/ 127 w 159"/>
                  <a:gd name="T75" fmla="*/ 0 h 150"/>
                  <a:gd name="T76" fmla="*/ 121 w 159"/>
                  <a:gd name="T77" fmla="*/ 0 h 150"/>
                  <a:gd name="T78" fmla="*/ 100 w 159"/>
                  <a:gd name="T79" fmla="*/ 13 h 150"/>
                  <a:gd name="T80" fmla="*/ 77 w 159"/>
                  <a:gd name="T81" fmla="*/ 68 h 150"/>
                  <a:gd name="T82" fmla="*/ 12 w 159"/>
                  <a:gd name="T83" fmla="*/ 120 h 150"/>
                  <a:gd name="T84" fmla="*/ 12 w 159"/>
                  <a:gd name="T85" fmla="*/ 145 h 150"/>
                  <a:gd name="T86" fmla="*/ 23 w 159"/>
                  <a:gd name="T87" fmla="*/ 150 h 150"/>
                  <a:gd name="T88" fmla="*/ 36 w 159"/>
                  <a:gd name="T89" fmla="*/ 145 h 150"/>
                  <a:gd name="T90" fmla="*/ 93 w 159"/>
                  <a:gd name="T91" fmla="*/ 85 h 150"/>
                  <a:gd name="T92" fmla="*/ 144 w 159"/>
                  <a:gd name="T93" fmla="*/ 71 h 150"/>
                  <a:gd name="T94" fmla="*/ 137 w 159"/>
                  <a:gd name="T95" fmla="*/ 54 h 150"/>
                  <a:gd name="T96" fmla="*/ 159 w 159"/>
                  <a:gd name="T97" fmla="*/ 25 h 150"/>
                  <a:gd name="T98" fmla="*/ 130 w 159"/>
                  <a:gd name="T99" fmla="*/ 37 h 150"/>
                  <a:gd name="T100" fmla="*/ 124 w 159"/>
                  <a:gd name="T101" fmla="*/ 24 h 150"/>
                  <a:gd name="T102" fmla="*/ 125 w 159"/>
                  <a:gd name="T103" fmla="*/ 17 h 150"/>
                  <a:gd name="T104" fmla="*/ 149 w 159"/>
                  <a:gd name="T105" fmla="*/ 6 h 150"/>
                  <a:gd name="T106" fmla="*/ 127 w 159"/>
                  <a:gd name="T107" fmla="*/ 0 h 150"/>
                  <a:gd name="T108" fmla="*/ 24 w 159"/>
                  <a:gd name="T109" fmla="*/ 138 h 150"/>
                  <a:gd name="T110" fmla="*/ 20 w 159"/>
                  <a:gd name="T111" fmla="*/ 136 h 150"/>
                  <a:gd name="T112" fmla="*/ 20 w 159"/>
                  <a:gd name="T113" fmla="*/ 128 h 150"/>
                  <a:gd name="T114" fmla="*/ 24 w 159"/>
                  <a:gd name="T115" fmla="*/ 126 h 150"/>
                  <a:gd name="T116" fmla="*/ 29 w 159"/>
                  <a:gd name="T117" fmla="*/ 128 h 150"/>
                  <a:gd name="T118" fmla="*/ 29 w 159"/>
                  <a:gd name="T119" fmla="*/ 136 h 150"/>
                  <a:gd name="T120" fmla="*/ 24 w 159"/>
                  <a:gd name="T121" fmla="*/ 13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59" h="150">
                    <a:moveTo>
                      <a:pt x="127" y="4"/>
                    </a:moveTo>
                    <a:cubicBezTo>
                      <a:pt x="132" y="4"/>
                      <a:pt x="136" y="5"/>
                      <a:pt x="140" y="6"/>
                    </a:cubicBezTo>
                    <a:cubicBezTo>
                      <a:pt x="123" y="13"/>
                      <a:pt x="123" y="13"/>
                      <a:pt x="123" y="13"/>
                    </a:cubicBezTo>
                    <a:cubicBezTo>
                      <a:pt x="121" y="14"/>
                      <a:pt x="121" y="14"/>
                      <a:pt x="121" y="14"/>
                    </a:cubicBezTo>
                    <a:cubicBezTo>
                      <a:pt x="121" y="16"/>
                      <a:pt x="121" y="16"/>
                      <a:pt x="121" y="16"/>
                    </a:cubicBezTo>
                    <a:cubicBezTo>
                      <a:pt x="120" y="23"/>
                      <a:pt x="120" y="23"/>
                      <a:pt x="120" y="23"/>
                    </a:cubicBezTo>
                    <a:cubicBezTo>
                      <a:pt x="120" y="24"/>
                      <a:pt x="120" y="24"/>
                      <a:pt x="120" y="24"/>
                    </a:cubicBezTo>
                    <a:cubicBezTo>
                      <a:pt x="120" y="25"/>
                      <a:pt x="120" y="25"/>
                      <a:pt x="120" y="25"/>
                    </a:cubicBezTo>
                    <a:cubicBezTo>
                      <a:pt x="126" y="39"/>
                      <a:pt x="126" y="39"/>
                      <a:pt x="126" y="39"/>
                    </a:cubicBezTo>
                    <a:cubicBezTo>
                      <a:pt x="128" y="43"/>
                      <a:pt x="128" y="43"/>
                      <a:pt x="128" y="43"/>
                    </a:cubicBezTo>
                    <a:cubicBezTo>
                      <a:pt x="131" y="41"/>
                      <a:pt x="131" y="41"/>
                      <a:pt x="131" y="41"/>
                    </a:cubicBezTo>
                    <a:cubicBezTo>
                      <a:pt x="152" y="32"/>
                      <a:pt x="152" y="32"/>
                      <a:pt x="152" y="32"/>
                    </a:cubicBezTo>
                    <a:cubicBezTo>
                      <a:pt x="148" y="38"/>
                      <a:pt x="143" y="46"/>
                      <a:pt x="135" y="50"/>
                    </a:cubicBezTo>
                    <a:cubicBezTo>
                      <a:pt x="132" y="52"/>
                      <a:pt x="132" y="52"/>
                      <a:pt x="132" y="52"/>
                    </a:cubicBezTo>
                    <a:cubicBezTo>
                      <a:pt x="133" y="56"/>
                      <a:pt x="133" y="56"/>
                      <a:pt x="133" y="56"/>
                    </a:cubicBezTo>
                    <a:cubicBezTo>
                      <a:pt x="138" y="68"/>
                      <a:pt x="138" y="68"/>
                      <a:pt x="138" y="68"/>
                    </a:cubicBezTo>
                    <a:cubicBezTo>
                      <a:pt x="126" y="69"/>
                      <a:pt x="98" y="74"/>
                      <a:pt x="90" y="83"/>
                    </a:cubicBezTo>
                    <a:cubicBezTo>
                      <a:pt x="33" y="142"/>
                      <a:pt x="33" y="142"/>
                      <a:pt x="33" y="142"/>
                    </a:cubicBezTo>
                    <a:cubicBezTo>
                      <a:pt x="33" y="142"/>
                      <a:pt x="28" y="146"/>
                      <a:pt x="23" y="146"/>
                    </a:cubicBezTo>
                    <a:cubicBezTo>
                      <a:pt x="20" y="146"/>
                      <a:pt x="17" y="144"/>
                      <a:pt x="15" y="142"/>
                    </a:cubicBezTo>
                    <a:cubicBezTo>
                      <a:pt x="7" y="134"/>
                      <a:pt x="13" y="125"/>
                      <a:pt x="15" y="123"/>
                    </a:cubicBezTo>
                    <a:cubicBezTo>
                      <a:pt x="80" y="71"/>
                      <a:pt x="80" y="71"/>
                      <a:pt x="80" y="71"/>
                    </a:cubicBezTo>
                    <a:cubicBezTo>
                      <a:pt x="80" y="71"/>
                      <a:pt x="80" y="71"/>
                      <a:pt x="80" y="71"/>
                    </a:cubicBezTo>
                    <a:cubicBezTo>
                      <a:pt x="80" y="70"/>
                      <a:pt x="80" y="70"/>
                      <a:pt x="80" y="70"/>
                    </a:cubicBezTo>
                    <a:cubicBezTo>
                      <a:pt x="93" y="58"/>
                      <a:pt x="98" y="36"/>
                      <a:pt x="102" y="23"/>
                    </a:cubicBezTo>
                    <a:cubicBezTo>
                      <a:pt x="103" y="19"/>
                      <a:pt x="103" y="17"/>
                      <a:pt x="104" y="15"/>
                    </a:cubicBezTo>
                    <a:cubicBezTo>
                      <a:pt x="106" y="7"/>
                      <a:pt x="107" y="7"/>
                      <a:pt x="121" y="4"/>
                    </a:cubicBezTo>
                    <a:cubicBezTo>
                      <a:pt x="122" y="4"/>
                      <a:pt x="122" y="4"/>
                      <a:pt x="122" y="4"/>
                    </a:cubicBezTo>
                    <a:cubicBezTo>
                      <a:pt x="124" y="4"/>
                      <a:pt x="125" y="4"/>
                      <a:pt x="127" y="4"/>
                    </a:cubicBezTo>
                    <a:cubicBezTo>
                      <a:pt x="127" y="4"/>
                      <a:pt x="127" y="4"/>
                      <a:pt x="127" y="4"/>
                    </a:cubicBezTo>
                    <a:moveTo>
                      <a:pt x="24" y="142"/>
                    </a:moveTo>
                    <a:cubicBezTo>
                      <a:pt x="27" y="142"/>
                      <a:pt x="30" y="141"/>
                      <a:pt x="31" y="139"/>
                    </a:cubicBezTo>
                    <a:cubicBezTo>
                      <a:pt x="35" y="135"/>
                      <a:pt x="35" y="129"/>
                      <a:pt x="31" y="125"/>
                    </a:cubicBezTo>
                    <a:cubicBezTo>
                      <a:pt x="30" y="123"/>
                      <a:pt x="27" y="122"/>
                      <a:pt x="24" y="122"/>
                    </a:cubicBezTo>
                    <a:cubicBezTo>
                      <a:pt x="22" y="122"/>
                      <a:pt x="19" y="123"/>
                      <a:pt x="17" y="125"/>
                    </a:cubicBezTo>
                    <a:cubicBezTo>
                      <a:pt x="13" y="129"/>
                      <a:pt x="13" y="135"/>
                      <a:pt x="17" y="139"/>
                    </a:cubicBezTo>
                    <a:cubicBezTo>
                      <a:pt x="19" y="141"/>
                      <a:pt x="22" y="142"/>
                      <a:pt x="24" y="142"/>
                    </a:cubicBezTo>
                    <a:moveTo>
                      <a:pt x="127" y="0"/>
                    </a:moveTo>
                    <a:cubicBezTo>
                      <a:pt x="125" y="0"/>
                      <a:pt x="123" y="0"/>
                      <a:pt x="121" y="0"/>
                    </a:cubicBezTo>
                    <a:cubicBezTo>
                      <a:pt x="106" y="3"/>
                      <a:pt x="103" y="4"/>
                      <a:pt x="100" y="13"/>
                    </a:cubicBezTo>
                    <a:cubicBezTo>
                      <a:pt x="97" y="23"/>
                      <a:pt x="93" y="53"/>
                      <a:pt x="77" y="68"/>
                    </a:cubicBezTo>
                    <a:cubicBezTo>
                      <a:pt x="12" y="120"/>
                      <a:pt x="12" y="120"/>
                      <a:pt x="12" y="120"/>
                    </a:cubicBezTo>
                    <a:cubicBezTo>
                      <a:pt x="12" y="120"/>
                      <a:pt x="0" y="133"/>
                      <a:pt x="12" y="145"/>
                    </a:cubicBezTo>
                    <a:cubicBezTo>
                      <a:pt x="16" y="148"/>
                      <a:pt x="20" y="150"/>
                      <a:pt x="23" y="150"/>
                    </a:cubicBezTo>
                    <a:cubicBezTo>
                      <a:pt x="30" y="150"/>
                      <a:pt x="36" y="145"/>
                      <a:pt x="36" y="145"/>
                    </a:cubicBezTo>
                    <a:cubicBezTo>
                      <a:pt x="93" y="85"/>
                      <a:pt x="93" y="85"/>
                      <a:pt x="93" y="85"/>
                    </a:cubicBezTo>
                    <a:cubicBezTo>
                      <a:pt x="102" y="76"/>
                      <a:pt x="144" y="71"/>
                      <a:pt x="144" y="71"/>
                    </a:cubicBezTo>
                    <a:cubicBezTo>
                      <a:pt x="137" y="54"/>
                      <a:pt x="137" y="54"/>
                      <a:pt x="137" y="54"/>
                    </a:cubicBezTo>
                    <a:cubicBezTo>
                      <a:pt x="153" y="46"/>
                      <a:pt x="159" y="25"/>
                      <a:pt x="159" y="25"/>
                    </a:cubicBezTo>
                    <a:cubicBezTo>
                      <a:pt x="130" y="37"/>
                      <a:pt x="130" y="37"/>
                      <a:pt x="130" y="37"/>
                    </a:cubicBezTo>
                    <a:cubicBezTo>
                      <a:pt x="124" y="24"/>
                      <a:pt x="124" y="24"/>
                      <a:pt x="124" y="24"/>
                    </a:cubicBezTo>
                    <a:cubicBezTo>
                      <a:pt x="125" y="17"/>
                      <a:pt x="125" y="17"/>
                      <a:pt x="125" y="17"/>
                    </a:cubicBezTo>
                    <a:cubicBezTo>
                      <a:pt x="149" y="6"/>
                      <a:pt x="149" y="6"/>
                      <a:pt x="149" y="6"/>
                    </a:cubicBezTo>
                    <a:cubicBezTo>
                      <a:pt x="149" y="6"/>
                      <a:pt x="139" y="0"/>
                      <a:pt x="127" y="0"/>
                    </a:cubicBezTo>
                    <a:close/>
                    <a:moveTo>
                      <a:pt x="24" y="138"/>
                    </a:moveTo>
                    <a:cubicBezTo>
                      <a:pt x="23" y="138"/>
                      <a:pt x="21" y="138"/>
                      <a:pt x="20" y="136"/>
                    </a:cubicBezTo>
                    <a:cubicBezTo>
                      <a:pt x="17" y="134"/>
                      <a:pt x="17" y="130"/>
                      <a:pt x="20" y="128"/>
                    </a:cubicBezTo>
                    <a:cubicBezTo>
                      <a:pt x="21" y="127"/>
                      <a:pt x="23" y="126"/>
                      <a:pt x="24" y="126"/>
                    </a:cubicBezTo>
                    <a:cubicBezTo>
                      <a:pt x="26" y="126"/>
                      <a:pt x="27" y="127"/>
                      <a:pt x="29" y="128"/>
                    </a:cubicBezTo>
                    <a:cubicBezTo>
                      <a:pt x="31" y="130"/>
                      <a:pt x="31" y="134"/>
                      <a:pt x="29" y="136"/>
                    </a:cubicBezTo>
                    <a:cubicBezTo>
                      <a:pt x="27" y="138"/>
                      <a:pt x="26" y="138"/>
                      <a:pt x="24" y="138"/>
                    </a:cubicBezTo>
                    <a:close/>
                  </a:path>
                </a:pathLst>
              </a:custGeom>
              <a:grpFill/>
              <a:ln w="317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grpSp>
      </p:grpSp>
    </p:spTree>
    <p:extLst>
      <p:ext uri="{BB962C8B-B14F-4D97-AF65-F5344CB8AC3E}">
        <p14:creationId xmlns:p14="http://schemas.microsoft.com/office/powerpoint/2010/main" val="375461322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Learning is also Fun!</a:t>
            </a:r>
            <a:endParaRPr lang="en-IN" sz="4000" dirty="0"/>
          </a:p>
        </p:txBody>
      </p:sp>
      <p:pic>
        <p:nvPicPr>
          <p:cNvPr id="2" name="Graphic 1" descr="Juggler with solid fill">
            <a:extLst>
              <a:ext uri="{FF2B5EF4-FFF2-40B4-BE49-F238E27FC236}">
                <a16:creationId xmlns:a16="http://schemas.microsoft.com/office/drawing/2014/main" id="{05221367-599F-F73C-4BD3-0C82C72014FC}"/>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783676" y="2795529"/>
            <a:ext cx="1213691" cy="1213691"/>
          </a:xfrm>
          <a:prstGeom prst="rect">
            <a:avLst/>
          </a:prstGeom>
        </p:spPr>
      </p:pic>
    </p:spTree>
    <p:extLst>
      <p:ext uri="{BB962C8B-B14F-4D97-AF65-F5344CB8AC3E}">
        <p14:creationId xmlns:p14="http://schemas.microsoft.com/office/powerpoint/2010/main" val="66066222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595DA231-959C-B3E0-7DA4-876736A38BC8}"/>
              </a:ext>
            </a:extLst>
          </p:cNvPr>
          <p:cNvGraphicFramePr>
            <a:graphicFrameLocks noChangeAspect="1"/>
          </p:cNvGraphicFramePr>
          <p:nvPr>
            <p:custDataLst>
              <p:tags r:id="rId1"/>
            </p:custDataLst>
            <p:extLst>
              <p:ext uri="{D42A27DB-BD31-4B8C-83A1-F6EECF244321}">
                <p14:modId xmlns:p14="http://schemas.microsoft.com/office/powerpoint/2010/main" val="16324474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think-cell data - do not delete" hidden="1">
                        <a:extLst>
                          <a:ext uri="{FF2B5EF4-FFF2-40B4-BE49-F238E27FC236}">
                            <a16:creationId xmlns:a16="http://schemas.microsoft.com/office/drawing/2014/main" id="{595DA231-959C-B3E0-7DA4-876736A38BC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56243872-C66F-EDEB-B185-CE420E5D6837}"/>
              </a:ext>
            </a:extLst>
          </p:cNvPr>
          <p:cNvSpPr>
            <a:spLocks noGrp="1"/>
          </p:cNvSpPr>
          <p:nvPr>
            <p:ph type="title"/>
          </p:nvPr>
        </p:nvSpPr>
        <p:spPr>
          <a:xfrm>
            <a:off x="989814" y="273377"/>
            <a:ext cx="10441782" cy="631596"/>
          </a:xfrm>
          <a:solidFill>
            <a:schemeClr val="accent1"/>
          </a:solidFill>
        </p:spPr>
        <p:txBody>
          <a:bodyPr vert="horz" anchor="ctr">
            <a:normAutofit/>
          </a:bodyPr>
          <a:lstStyle/>
          <a:p>
            <a:pPr algn="ctr"/>
            <a:r>
              <a:rPr lang="en-US" sz="3600" b="1" dirty="0">
                <a:ln w="0"/>
                <a:solidFill>
                  <a:schemeClr val="bg1"/>
                </a:solidFill>
                <a:effectLst>
                  <a:outerShdw blurRad="38100" dist="25400" dir="5400000" algn="ctr" rotWithShape="0">
                    <a:srgbClr val="6E747A">
                      <a:alpha val="43000"/>
                    </a:srgbClr>
                  </a:outerShdw>
                </a:effectLst>
              </a:rPr>
              <a:t>About Me</a:t>
            </a:r>
            <a:endParaRPr lang="en-IN" sz="3600" b="1" dirty="0">
              <a:solidFill>
                <a:schemeClr val="bg1"/>
              </a:solidFill>
            </a:endParaRPr>
          </a:p>
        </p:txBody>
      </p:sp>
      <p:sp>
        <p:nvSpPr>
          <p:cNvPr id="4" name="Slide Number Placeholder 3">
            <a:extLst>
              <a:ext uri="{FF2B5EF4-FFF2-40B4-BE49-F238E27FC236}">
                <a16:creationId xmlns:a16="http://schemas.microsoft.com/office/drawing/2014/main" id="{06C725D5-7581-AA70-6229-D8DC020A1CF5}"/>
              </a:ext>
            </a:extLst>
          </p:cNvPr>
          <p:cNvSpPr>
            <a:spLocks noGrp="1"/>
          </p:cNvSpPr>
          <p:nvPr>
            <p:ph type="sldNum" sz="quarter" idx="15"/>
          </p:nvPr>
        </p:nvSpPr>
        <p:spPr/>
        <p:txBody>
          <a:bodyPr/>
          <a:lstStyle/>
          <a:p>
            <a:fld id="{0879F475-59B1-4993-848A-C2B683DE9AF5}" type="slidenum">
              <a:rPr lang="en-IN" smtClean="0"/>
              <a:pPr/>
              <a:t>2</a:t>
            </a:fld>
            <a:endParaRPr lang="en-IN" dirty="0"/>
          </a:p>
        </p:txBody>
      </p:sp>
      <p:sp>
        <p:nvSpPr>
          <p:cNvPr id="10" name="Content Placeholder 2">
            <a:extLst>
              <a:ext uri="{FF2B5EF4-FFF2-40B4-BE49-F238E27FC236}">
                <a16:creationId xmlns:a16="http://schemas.microsoft.com/office/drawing/2014/main" id="{1119CB9E-042F-11E8-F683-654626D307B3}"/>
              </a:ext>
            </a:extLst>
          </p:cNvPr>
          <p:cNvSpPr txBox="1">
            <a:spLocks/>
          </p:cNvSpPr>
          <p:nvPr/>
        </p:nvSpPr>
        <p:spPr>
          <a:xfrm>
            <a:off x="442195" y="1831738"/>
            <a:ext cx="5653806" cy="4076241"/>
          </a:xfrm>
          <a:prstGeom prst="rect">
            <a:avLst/>
          </a:prstGeom>
          <a:ln>
            <a:solidFill>
              <a:schemeClr val="tx1"/>
            </a:solidFill>
          </a:ln>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sz="2000" dirty="0"/>
              <a:t>Family is our foundation; happiness is our goal!</a:t>
            </a:r>
          </a:p>
          <a:p>
            <a:pPr marL="0" indent="0" algn="ctr">
              <a:buFont typeface="Arial" panose="020B0604020202020204" pitchFamily="34" charset="0"/>
              <a:buNone/>
            </a:pPr>
            <a:endParaRPr lang="en-US" sz="2000" dirty="0"/>
          </a:p>
        </p:txBody>
      </p:sp>
      <p:sp>
        <p:nvSpPr>
          <p:cNvPr id="11" name="Content Placeholder 3">
            <a:extLst>
              <a:ext uri="{FF2B5EF4-FFF2-40B4-BE49-F238E27FC236}">
                <a16:creationId xmlns:a16="http://schemas.microsoft.com/office/drawing/2014/main" id="{CE0DDF5F-FE47-F9A2-FE84-53B63DFF494D}"/>
              </a:ext>
            </a:extLst>
          </p:cNvPr>
          <p:cNvSpPr txBox="1">
            <a:spLocks/>
          </p:cNvSpPr>
          <p:nvPr/>
        </p:nvSpPr>
        <p:spPr>
          <a:xfrm>
            <a:off x="6400800" y="1831738"/>
            <a:ext cx="5350706" cy="4076241"/>
          </a:xfrm>
          <a:prstGeom prst="rect">
            <a:avLst/>
          </a:prstGeom>
          <a:ln>
            <a:solidFill>
              <a:schemeClr val="tx1"/>
            </a:solidFill>
          </a:ln>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endParaRPr lang="en-US" sz="2000" dirty="0"/>
          </a:p>
        </p:txBody>
      </p:sp>
      <p:pic>
        <p:nvPicPr>
          <p:cNvPr id="6" name="Picture 5">
            <a:extLst>
              <a:ext uri="{FF2B5EF4-FFF2-40B4-BE49-F238E27FC236}">
                <a16:creationId xmlns:a16="http://schemas.microsoft.com/office/drawing/2014/main" id="{F1F56A95-56E0-55D0-A886-9FB00FAE2312}"/>
              </a:ext>
            </a:extLst>
          </p:cNvPr>
          <p:cNvPicPr>
            <a:picLocks noChangeAspect="1"/>
          </p:cNvPicPr>
          <p:nvPr/>
        </p:nvPicPr>
        <p:blipFill>
          <a:blip r:embed="rId5"/>
          <a:stretch>
            <a:fillRect/>
          </a:stretch>
        </p:blipFill>
        <p:spPr>
          <a:xfrm>
            <a:off x="7147340" y="1941045"/>
            <a:ext cx="3857625" cy="3857625"/>
          </a:xfrm>
          <a:prstGeom prst="rect">
            <a:avLst/>
          </a:prstGeom>
        </p:spPr>
      </p:pic>
    </p:spTree>
    <p:extLst>
      <p:ext uri="{BB962C8B-B14F-4D97-AF65-F5344CB8AC3E}">
        <p14:creationId xmlns:p14="http://schemas.microsoft.com/office/powerpoint/2010/main" val="86783218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3082285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is also Fun!</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20</a:t>
            </a:fld>
            <a:endParaRPr lang="en-IN" dirty="0"/>
          </a:p>
        </p:txBody>
      </p:sp>
      <p:pic>
        <p:nvPicPr>
          <p:cNvPr id="2" name="Graphic 1" descr="Juggler with solid fill">
            <a:extLst>
              <a:ext uri="{FF2B5EF4-FFF2-40B4-BE49-F238E27FC236}">
                <a16:creationId xmlns:a16="http://schemas.microsoft.com/office/drawing/2014/main" id="{09B39B69-AA92-EAA5-718F-24380CF24656}"/>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19674" y="124674"/>
            <a:ext cx="1213691" cy="1213691"/>
          </a:xfrm>
          <a:prstGeom prst="rect">
            <a:avLst/>
          </a:prstGeom>
        </p:spPr>
      </p:pic>
      <p:sp>
        <p:nvSpPr>
          <p:cNvPr id="11" name="Content Placeholder 2">
            <a:extLst>
              <a:ext uri="{FF2B5EF4-FFF2-40B4-BE49-F238E27FC236}">
                <a16:creationId xmlns:a16="http://schemas.microsoft.com/office/drawing/2014/main" id="{8CC1343B-2E39-FEFF-8FF6-46822F18B432}"/>
              </a:ext>
            </a:extLst>
          </p:cNvPr>
          <p:cNvSpPr txBox="1">
            <a:spLocks/>
          </p:cNvSpPr>
          <p:nvPr/>
        </p:nvSpPr>
        <p:spPr>
          <a:xfrm>
            <a:off x="442195" y="1963818"/>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9pPr>
          </a:lstStyle>
          <a:p>
            <a:pPr marL="0" indent="0" algn="just">
              <a:buFont typeface="Arial" panose="020B0604020202020204" pitchFamily="34" charset="0"/>
              <a:buNone/>
            </a:pPr>
            <a:r>
              <a:rPr lang="en-US" sz="2000" dirty="0"/>
              <a:t>We performed a lot of group activities which were a lot of fun. We got to know a lot about our friends and bonded over the memories we created.</a:t>
            </a:r>
          </a:p>
        </p:txBody>
      </p:sp>
      <p:sp>
        <p:nvSpPr>
          <p:cNvPr id="12" name="Content Placeholder 3">
            <a:extLst>
              <a:ext uri="{FF2B5EF4-FFF2-40B4-BE49-F238E27FC236}">
                <a16:creationId xmlns:a16="http://schemas.microsoft.com/office/drawing/2014/main" id="{5A873A1A-E63F-91AE-7D43-ED0F86870147}"/>
              </a:ext>
            </a:extLst>
          </p:cNvPr>
          <p:cNvSpPr txBox="1">
            <a:spLocks/>
          </p:cNvSpPr>
          <p:nvPr/>
        </p:nvSpPr>
        <p:spPr>
          <a:xfrm>
            <a:off x="6400800" y="1963818"/>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9pPr>
          </a:lstStyle>
          <a:p>
            <a:pPr marL="0" indent="0" algn="ctr">
              <a:buFont typeface="Arial" panose="020B0604020202020204" pitchFamily="34" charset="0"/>
              <a:buNone/>
            </a:pPr>
            <a:endParaRPr lang="en-US" sz="2000" dirty="0"/>
          </a:p>
        </p:txBody>
      </p:sp>
      <p:pic>
        <p:nvPicPr>
          <p:cNvPr id="6" name="Picture 5" descr="A drawing of a shell with peacock feathers and a sun&#10;&#10;Description automatically generated">
            <a:extLst>
              <a:ext uri="{FF2B5EF4-FFF2-40B4-BE49-F238E27FC236}">
                <a16:creationId xmlns:a16="http://schemas.microsoft.com/office/drawing/2014/main" id="{3F5EC3B1-60A8-BB2B-91C8-4D5353926598}"/>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647278" y="2173138"/>
            <a:ext cx="4857750" cy="3657600"/>
          </a:xfrm>
          <a:prstGeom prst="rect">
            <a:avLst/>
          </a:prstGeom>
        </p:spPr>
      </p:pic>
    </p:spTree>
    <p:extLst>
      <p:ext uri="{BB962C8B-B14F-4D97-AF65-F5344CB8AC3E}">
        <p14:creationId xmlns:p14="http://schemas.microsoft.com/office/powerpoint/2010/main" val="114883876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6743480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Summary</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21</a:t>
            </a:fld>
            <a:endParaRPr lang="en-IN" dirty="0"/>
          </a:p>
        </p:txBody>
      </p:sp>
      <p:pic>
        <p:nvPicPr>
          <p:cNvPr id="5" name="Graphic 4" descr="Future with solid fill">
            <a:extLst>
              <a:ext uri="{FF2B5EF4-FFF2-40B4-BE49-F238E27FC236}">
                <a16:creationId xmlns:a16="http://schemas.microsoft.com/office/drawing/2014/main" id="{4C05FBB4-1D96-ED51-AB17-618E4D4052D9}"/>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24305" y="129305"/>
            <a:ext cx="1204430" cy="1204430"/>
          </a:xfrm>
          <a:prstGeom prst="rect">
            <a:avLst/>
          </a:prstGeom>
        </p:spPr>
      </p:pic>
      <p:sp>
        <p:nvSpPr>
          <p:cNvPr id="6" name="Text Placeholder 1">
            <a:extLst>
              <a:ext uri="{FF2B5EF4-FFF2-40B4-BE49-F238E27FC236}">
                <a16:creationId xmlns:a16="http://schemas.microsoft.com/office/drawing/2014/main" id="{AC2F88D2-81D4-FAD4-568E-A3F495B06411}"/>
              </a:ext>
            </a:extLst>
          </p:cNvPr>
          <p:cNvSpPr txBox="1">
            <a:spLocks/>
          </p:cNvSpPr>
          <p:nvPr/>
        </p:nvSpPr>
        <p:spPr>
          <a:xfrm>
            <a:off x="812799" y="1624201"/>
            <a:ext cx="9804401" cy="2876680"/>
          </a:xfrm>
          <a:prstGeom prst="rect">
            <a:avLst/>
          </a:prstGeom>
        </p:spPr>
        <p:txBody>
          <a:bodyPr anchor="t">
            <a:normAutofit fontScale="92500"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457200" indent="-457200" algn="just">
              <a:lnSpc>
                <a:spcPct val="100000"/>
              </a:lnSpc>
            </a:pPr>
            <a:r>
              <a:rPr lang="en-US" sz="1800" dirty="0"/>
              <a:t>Growth mindset</a:t>
            </a:r>
          </a:p>
          <a:p>
            <a:pPr marL="457200" indent="-457200" algn="just">
              <a:lnSpc>
                <a:spcPct val="100000"/>
              </a:lnSpc>
            </a:pPr>
            <a:r>
              <a:rPr lang="en-US" sz="1800" dirty="0"/>
              <a:t>Learning attitude</a:t>
            </a:r>
          </a:p>
          <a:p>
            <a:pPr marL="457200" indent="-457200" algn="just">
              <a:lnSpc>
                <a:spcPct val="100000"/>
              </a:lnSpc>
            </a:pPr>
            <a:r>
              <a:rPr lang="en-US" sz="1800" dirty="0"/>
              <a:t>Stakeholder management</a:t>
            </a:r>
          </a:p>
          <a:p>
            <a:pPr marL="457200" indent="-457200" algn="just">
              <a:lnSpc>
                <a:spcPct val="100000"/>
              </a:lnSpc>
            </a:pPr>
            <a:r>
              <a:rPr lang="en-US" sz="1800" dirty="0"/>
              <a:t>Neuroplasticity</a:t>
            </a:r>
          </a:p>
          <a:p>
            <a:pPr marL="457200" indent="-457200" algn="just">
              <a:lnSpc>
                <a:spcPct val="100000"/>
              </a:lnSpc>
            </a:pPr>
            <a:r>
              <a:rPr lang="en-US" sz="1800" dirty="0"/>
              <a:t>Agile methodology</a:t>
            </a:r>
          </a:p>
          <a:p>
            <a:pPr marL="457200" indent="-457200" algn="just">
              <a:lnSpc>
                <a:spcPct val="100000"/>
              </a:lnSpc>
            </a:pPr>
            <a:r>
              <a:rPr lang="en-US" sz="1800" dirty="0"/>
              <a:t>SDLC model</a:t>
            </a:r>
          </a:p>
          <a:p>
            <a:pPr marL="457200" indent="-457200" algn="just">
              <a:lnSpc>
                <a:spcPct val="100000"/>
              </a:lnSpc>
            </a:pPr>
            <a:r>
              <a:rPr lang="en-US" sz="1800" dirty="0"/>
              <a:t>Requirement analysis</a:t>
            </a:r>
          </a:p>
          <a:p>
            <a:pPr marL="457200" indent="-457200" algn="just">
              <a:lnSpc>
                <a:spcPct val="100000"/>
              </a:lnSpc>
            </a:pPr>
            <a:r>
              <a:rPr lang="en-US" sz="1800" dirty="0" err="1"/>
              <a:t>Github</a:t>
            </a:r>
            <a:r>
              <a:rPr lang="en-US" sz="1800" dirty="0"/>
              <a:t> link - </a:t>
            </a:r>
            <a:r>
              <a:rPr lang="en-GB" sz="2000" dirty="0" err="1">
                <a:hlinkClick r:id="rId7"/>
              </a:rPr>
              <a:t>rohita-ch</a:t>
            </a:r>
            <a:r>
              <a:rPr lang="en-GB" sz="2000" dirty="0">
                <a:hlinkClick r:id="rId7"/>
              </a:rPr>
              <a:t>/Bootcamp (github.com)</a:t>
            </a:r>
            <a:endParaRPr lang="en-US" sz="1800" dirty="0"/>
          </a:p>
          <a:p>
            <a:pPr marL="457200" indent="-457200" algn="just">
              <a:lnSpc>
                <a:spcPct val="100000"/>
              </a:lnSpc>
            </a:pPr>
            <a:endParaRPr lang="en-US" sz="1800" dirty="0"/>
          </a:p>
          <a:p>
            <a:pPr marL="457200" indent="-457200" algn="just">
              <a:lnSpc>
                <a:spcPct val="100000"/>
              </a:lnSpc>
            </a:pPr>
            <a:endParaRPr lang="en-US" sz="1800" dirty="0"/>
          </a:p>
        </p:txBody>
      </p:sp>
    </p:spTree>
    <p:extLst>
      <p:ext uri="{BB962C8B-B14F-4D97-AF65-F5344CB8AC3E}">
        <p14:creationId xmlns:p14="http://schemas.microsoft.com/office/powerpoint/2010/main" val="386585011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02BCC5FF-5A86-457C-9D70-8722A7CA3A57}"/>
              </a:ext>
            </a:extLst>
          </p:cNvPr>
          <p:cNvSpPr>
            <a:spLocks noGrp="1"/>
          </p:cNvSpPr>
          <p:nvPr>
            <p:ph type="body" sz="quarter" idx="12"/>
          </p:nvPr>
        </p:nvSpPr>
        <p:spPr>
          <a:xfrm>
            <a:off x="545642" y="2673043"/>
            <a:ext cx="10525125" cy="923330"/>
          </a:xfrm>
        </p:spPr>
        <p:txBody>
          <a:bodyPr/>
          <a:lstStyle/>
          <a:p>
            <a:pPr algn="ctr"/>
            <a:r>
              <a:rPr lang="en-US" sz="6000" dirty="0"/>
              <a:t>Thank</a:t>
            </a:r>
            <a:r>
              <a:rPr lang="en-US" sz="3200" dirty="0"/>
              <a:t> </a:t>
            </a:r>
            <a:r>
              <a:rPr lang="en-US" sz="5400" dirty="0"/>
              <a:t>You</a:t>
            </a:r>
            <a:endParaRPr lang="en-US" sz="3200" dirty="0"/>
          </a:p>
        </p:txBody>
      </p:sp>
    </p:spTree>
    <p:extLst>
      <p:ext uri="{BB962C8B-B14F-4D97-AF65-F5344CB8AC3E}">
        <p14:creationId xmlns:p14="http://schemas.microsoft.com/office/powerpoint/2010/main" val="380597587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My learnings from this week!</a:t>
            </a:r>
            <a:endParaRPr lang="en-IN" sz="4000" dirty="0"/>
          </a:p>
        </p:txBody>
      </p:sp>
      <p:pic>
        <p:nvPicPr>
          <p:cNvPr id="2" name="Graphic 1" descr="Idea outline">
            <a:extLst>
              <a:ext uri="{FF2B5EF4-FFF2-40B4-BE49-F238E27FC236}">
                <a16:creationId xmlns:a16="http://schemas.microsoft.com/office/drawing/2014/main" id="{5ED103A7-D95B-E42C-6356-53269A110E8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827744" y="2869895"/>
            <a:ext cx="1090788" cy="1090788"/>
          </a:xfrm>
          <a:prstGeom prst="rect">
            <a:avLst/>
          </a:prstGeom>
        </p:spPr>
      </p:pic>
    </p:spTree>
    <p:extLst>
      <p:ext uri="{BB962C8B-B14F-4D97-AF65-F5344CB8AC3E}">
        <p14:creationId xmlns:p14="http://schemas.microsoft.com/office/powerpoint/2010/main" val="94278987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11913734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Day 1 | My takeaways</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4</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83133" y="2706169"/>
            <a:ext cx="5653806" cy="2385887"/>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just"/>
            <a:r>
              <a:rPr lang="en-US" sz="2000" dirty="0"/>
              <a:t>Importance of teamwork</a:t>
            </a:r>
          </a:p>
          <a:p>
            <a:pPr algn="just"/>
            <a:r>
              <a:rPr lang="en-US" sz="2000" dirty="0"/>
              <a:t>Concept of win-win</a:t>
            </a:r>
          </a:p>
          <a:p>
            <a:pPr algn="just"/>
            <a:r>
              <a:rPr lang="en-US" sz="2000" dirty="0"/>
              <a:t>Speak loudly and make yourself heard</a:t>
            </a:r>
          </a:p>
          <a:p>
            <a:pPr algn="just"/>
            <a:r>
              <a:rPr lang="en-US" sz="2000" dirty="0"/>
              <a:t>Fixed mindset and growth mindset</a:t>
            </a:r>
          </a:p>
          <a:p>
            <a:pPr algn="just"/>
            <a:r>
              <a:rPr lang="en-US" sz="2000" dirty="0"/>
              <a:t>Etiquettes to be followed in a corporate setting</a:t>
            </a:r>
          </a:p>
          <a:p>
            <a:pPr algn="just"/>
            <a:r>
              <a:rPr lang="en-US" sz="2000" dirty="0"/>
              <a:t>Grooming Tips </a:t>
            </a:r>
          </a:p>
          <a:p>
            <a:pPr algn="just"/>
            <a:endParaRPr lang="en-US" sz="2000" dirty="0"/>
          </a:p>
          <a:p>
            <a:pPr algn="just"/>
            <a:endParaRPr lang="en-US" sz="2000"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US" sz="2000" dirty="0"/>
          </a:p>
          <a:p>
            <a:pPr marL="0" indent="0">
              <a:buFont typeface="Arial" panose="020B0604020202020204" pitchFamily="34" charset="0"/>
              <a:buNone/>
            </a:pPr>
            <a:endParaRPr lang="en-US" sz="2000" dirty="0"/>
          </a:p>
        </p:txBody>
      </p:sp>
      <p:pic>
        <p:nvPicPr>
          <p:cNvPr id="1026" name="Picture 2" descr="What Team Centered Goal Setting Really Looks Like">
            <a:extLst>
              <a:ext uri="{FF2B5EF4-FFF2-40B4-BE49-F238E27FC236}">
                <a16:creationId xmlns:a16="http://schemas.microsoft.com/office/drawing/2014/main" id="{AD955203-77E0-CC58-D6D3-BC215C429EB7}"/>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676541" y="2364953"/>
            <a:ext cx="4799222" cy="306832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588145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2232611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Day 2 | My takeaways</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5</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63550" y="2254049"/>
            <a:ext cx="5653806" cy="3290127"/>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just"/>
            <a:r>
              <a:rPr lang="en-US" sz="2000" dirty="0"/>
              <a:t>Mind exercise to remember sequences</a:t>
            </a:r>
          </a:p>
          <a:p>
            <a:pPr algn="just"/>
            <a:r>
              <a:rPr lang="en-US" sz="2000" dirty="0"/>
              <a:t>Understanding neuroplasticity</a:t>
            </a:r>
          </a:p>
          <a:p>
            <a:pPr algn="just"/>
            <a:r>
              <a:rPr lang="en-US" sz="2000" dirty="0"/>
              <a:t>People involved and people affected during different circumstances</a:t>
            </a:r>
          </a:p>
          <a:p>
            <a:pPr algn="just"/>
            <a:r>
              <a:rPr lang="en-US" sz="2000" dirty="0"/>
              <a:t>Identifying stakeholders, planning stakeholder management, stakeholder engagement, control stakeholder engagement</a:t>
            </a:r>
          </a:p>
          <a:p>
            <a:pPr algn="just"/>
            <a:r>
              <a:rPr lang="en-US" sz="2000" dirty="0"/>
              <a:t>Benefits for understanding stakeholders</a:t>
            </a:r>
          </a:p>
          <a:p>
            <a:pPr algn="just"/>
            <a:r>
              <a:rPr lang="en-US" sz="2000" dirty="0"/>
              <a:t>Learning about the Power Interest Grid</a:t>
            </a:r>
          </a:p>
          <a:p>
            <a:pPr marL="0" indent="0" algn="just">
              <a:buNone/>
            </a:pPr>
            <a:endParaRPr lang="en-US" sz="2000"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US" sz="2000" dirty="0"/>
          </a:p>
        </p:txBody>
      </p:sp>
      <p:pic>
        <p:nvPicPr>
          <p:cNvPr id="1026" name="Picture 2" descr="How Neuroplasticity Changes The Brain - Driven">
            <a:extLst>
              <a:ext uri="{FF2B5EF4-FFF2-40B4-BE49-F238E27FC236}">
                <a16:creationId xmlns:a16="http://schemas.microsoft.com/office/drawing/2014/main" id="{FCE449E2-377F-A530-59EC-F68DC2E0DA92}"/>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666972" y="1941742"/>
            <a:ext cx="4818357" cy="1681746"/>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The power-interest grid – Jo Can Do">
            <a:extLst>
              <a:ext uri="{FF2B5EF4-FFF2-40B4-BE49-F238E27FC236}">
                <a16:creationId xmlns:a16="http://schemas.microsoft.com/office/drawing/2014/main" id="{4DA9AC5C-3718-1268-4B83-9FCB1AEAFC9C}"/>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473325" y="3722827"/>
            <a:ext cx="3205653" cy="211506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8111271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41696049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Day 3 | My takeaways</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6</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63550" y="2010207"/>
            <a:ext cx="5653806" cy="3777807"/>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just"/>
            <a:r>
              <a:rPr lang="en-US" sz="2000" dirty="0"/>
              <a:t>Learnt the 2 types of structure of speech – OBC (Opening, Body, Conclusion) and PREP (Point, Reason, Example, Point) and gave a 3-minute speech on a topic of our choice</a:t>
            </a:r>
          </a:p>
          <a:p>
            <a:pPr algn="just"/>
            <a:r>
              <a:rPr lang="en-US" sz="2000" dirty="0"/>
              <a:t>Understood the importance of Power of Triad and watched the speech of winner of Toastmasters 2014</a:t>
            </a:r>
          </a:p>
          <a:p>
            <a:pPr algn="just"/>
            <a:r>
              <a:rPr lang="en-US" sz="2000" dirty="0"/>
              <a:t>Discussed the stages of Team formation – Forming, Norming, Storming, Performing</a:t>
            </a:r>
          </a:p>
          <a:p>
            <a:pPr algn="just"/>
            <a:r>
              <a:rPr lang="en-US" sz="2000" dirty="0"/>
              <a:t>Learnt about the Shell Trust Equation of credibility, reliability and integrity over self orientation</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US" sz="2000" dirty="0"/>
          </a:p>
        </p:txBody>
      </p:sp>
      <p:pic>
        <p:nvPicPr>
          <p:cNvPr id="1028" name="Picture 4" descr="Five Stages of Team Development | Quality Gurus">
            <a:extLst>
              <a:ext uri="{FF2B5EF4-FFF2-40B4-BE49-F238E27FC236}">
                <a16:creationId xmlns:a16="http://schemas.microsoft.com/office/drawing/2014/main" id="{46F164C6-1535-149A-E896-301C8EC5F019}"/>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484718" y="2466062"/>
            <a:ext cx="5182867" cy="286609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3374758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Day 4 | My takeaways</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7</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63550"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r>
              <a:rPr lang="en-US" sz="2000" dirty="0"/>
              <a:t>Learnt about the following topics – </a:t>
            </a:r>
          </a:p>
          <a:p>
            <a:pPr algn="just"/>
            <a:r>
              <a:rPr lang="en-US" sz="2000" dirty="0"/>
              <a:t>Stand up meetings</a:t>
            </a:r>
          </a:p>
          <a:p>
            <a:pPr algn="just"/>
            <a:r>
              <a:rPr lang="en-US" sz="2000" dirty="0"/>
              <a:t>SoS (Scrum of Scrums)</a:t>
            </a:r>
          </a:p>
          <a:p>
            <a:pPr algn="just"/>
            <a:r>
              <a:rPr lang="en-US" sz="2000" dirty="0"/>
              <a:t>Business Analysis</a:t>
            </a:r>
          </a:p>
          <a:p>
            <a:pPr algn="just"/>
            <a:r>
              <a:rPr lang="en-US" sz="2000" dirty="0"/>
              <a:t>Functional and Non-functional requirements</a:t>
            </a:r>
          </a:p>
          <a:p>
            <a:pPr algn="just"/>
            <a:r>
              <a:rPr lang="en-US" sz="2000" dirty="0"/>
              <a:t>SDLC model (Software Development Life Cycle) and its 7 stages</a:t>
            </a:r>
          </a:p>
          <a:p>
            <a:pPr algn="just"/>
            <a:r>
              <a:rPr lang="en-US" sz="2000" dirty="0"/>
              <a:t>Requirement analysis and techniques for requirement gathering</a:t>
            </a:r>
          </a:p>
          <a:p>
            <a:pPr algn="just"/>
            <a:r>
              <a:rPr lang="en-US" sz="2000" dirty="0"/>
              <a:t>Waterfall model and Agile model</a:t>
            </a:r>
          </a:p>
          <a:p>
            <a:pPr algn="just"/>
            <a:r>
              <a:rPr lang="en-US" sz="2000" dirty="0"/>
              <a:t>PI (Product Increment) model</a:t>
            </a:r>
          </a:p>
          <a:p>
            <a:pPr algn="just"/>
            <a:endParaRPr lang="en-US" sz="2000" dirty="0"/>
          </a:p>
          <a:p>
            <a:pPr algn="just"/>
            <a:endParaRPr lang="en-US" sz="2000"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US" sz="2000" dirty="0"/>
          </a:p>
        </p:txBody>
      </p:sp>
      <p:pic>
        <p:nvPicPr>
          <p:cNvPr id="2050" name="Picture 2" descr="Waterfall vs Agile: Which Methodology Is Right For Your Project ...">
            <a:extLst>
              <a:ext uri="{FF2B5EF4-FFF2-40B4-BE49-F238E27FC236}">
                <a16:creationId xmlns:a16="http://schemas.microsoft.com/office/drawing/2014/main" id="{FE326CD4-898D-D324-BE26-92B2CE8D2042}"/>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607272" y="2473335"/>
            <a:ext cx="4937760" cy="285155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2293181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Day 5 | My takeaways</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8</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63550"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r>
              <a:rPr lang="en-US" sz="2000" dirty="0"/>
              <a:t>Learnt about the following topics –</a:t>
            </a:r>
          </a:p>
          <a:p>
            <a:pPr algn="just"/>
            <a:r>
              <a:rPr lang="en-US" sz="2000" dirty="0"/>
              <a:t>Epics, User stories, Sprints</a:t>
            </a:r>
          </a:p>
          <a:p>
            <a:pPr algn="just"/>
            <a:r>
              <a:rPr lang="en-US" sz="2000" dirty="0"/>
              <a:t>Burndown vs Burnup charts</a:t>
            </a:r>
          </a:p>
          <a:p>
            <a:pPr algn="just"/>
            <a:r>
              <a:rPr lang="en-US" sz="2000" dirty="0"/>
              <a:t>Retrospective</a:t>
            </a:r>
          </a:p>
          <a:p>
            <a:pPr algn="just"/>
            <a:r>
              <a:rPr lang="en-US" sz="2000" dirty="0"/>
              <a:t>Monolithic architecture vs Microservice architecture</a:t>
            </a:r>
          </a:p>
          <a:p>
            <a:pPr algn="just"/>
            <a:r>
              <a:rPr lang="en-US" sz="2000" dirty="0"/>
              <a:t>Scrum benefits</a:t>
            </a:r>
          </a:p>
          <a:p>
            <a:pPr algn="just"/>
            <a:r>
              <a:rPr lang="en-US" sz="2000" dirty="0"/>
              <a:t>Product backlog</a:t>
            </a:r>
          </a:p>
          <a:p>
            <a:pPr algn="just"/>
            <a:r>
              <a:rPr lang="en-US" sz="2000" dirty="0"/>
              <a:t>User story vs enabler story</a:t>
            </a:r>
          </a:p>
          <a:p>
            <a:pPr algn="just"/>
            <a:r>
              <a:rPr lang="en-US" sz="2000" dirty="0"/>
              <a:t>Definition of Ready (DOR) vs Definition of Done (DOD) checklist </a:t>
            </a:r>
          </a:p>
          <a:p>
            <a:pPr algn="just"/>
            <a:endParaRPr lang="en-US" sz="2000" dirty="0"/>
          </a:p>
          <a:p>
            <a:pPr algn="just"/>
            <a:endParaRPr lang="en-US" sz="2000"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US" sz="2000" dirty="0"/>
          </a:p>
        </p:txBody>
      </p:sp>
      <p:pic>
        <p:nvPicPr>
          <p:cNvPr id="3074" name="Picture 2" descr="Scrum Diagram - The Scrum Framework captured in Simple One Picture">
            <a:extLst>
              <a:ext uri="{FF2B5EF4-FFF2-40B4-BE49-F238E27FC236}">
                <a16:creationId xmlns:a16="http://schemas.microsoft.com/office/drawing/2014/main" id="{5A34934A-11C7-0341-C856-CCB8CFD2149B}"/>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688552" y="2108413"/>
            <a:ext cx="4775200" cy="35814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4563856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Relevance of learnings for my organization</a:t>
            </a:r>
            <a:endParaRPr lang="en-IN" sz="4000" dirty="0"/>
          </a:p>
        </p:txBody>
      </p:sp>
      <p:pic>
        <p:nvPicPr>
          <p:cNvPr id="4" name="Graphic 3" descr="User network outline">
            <a:extLst>
              <a:ext uri="{FF2B5EF4-FFF2-40B4-BE49-F238E27FC236}">
                <a16:creationId xmlns:a16="http://schemas.microsoft.com/office/drawing/2014/main" id="{7164DAAD-2874-8D6F-8FCF-5053DEE24E3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794692" y="2838679"/>
            <a:ext cx="1180641" cy="1180641"/>
          </a:xfrm>
          <a:prstGeom prst="rect">
            <a:avLst/>
          </a:prstGeom>
        </p:spPr>
      </p:pic>
    </p:spTree>
    <p:extLst>
      <p:ext uri="{BB962C8B-B14F-4D97-AF65-F5344CB8AC3E}">
        <p14:creationId xmlns:p14="http://schemas.microsoft.com/office/powerpoint/2010/main" val="83294915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SCLIENT" val="True"/>
  <p:tag name="TEMPLATECREATED" val="2022-01-18 01:04 PM"/>
  <p:tag name="ICONENCLOSURE" val="False"/>
  <p:tag name="TEMPLATELASTEDITED" val="2022-01-18 06:01 PM"/>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Custom 24">
      <a:dk1>
        <a:sysClr val="windowText" lastClr="000000"/>
      </a:dk1>
      <a:lt1>
        <a:sysClr val="window" lastClr="FFFFFF"/>
      </a:lt1>
      <a:dk2>
        <a:srgbClr val="2E4552"/>
      </a:dk2>
      <a:lt2>
        <a:srgbClr val="E7E6E6"/>
      </a:lt2>
      <a:accent1>
        <a:srgbClr val="FF6600"/>
      </a:accent1>
      <a:accent2>
        <a:srgbClr val="F78E47"/>
      </a:accent2>
      <a:accent3>
        <a:srgbClr val="FEA655"/>
      </a:accent3>
      <a:accent4>
        <a:srgbClr val="F8CBAD"/>
      </a:accent4>
      <a:accent5>
        <a:srgbClr val="767171"/>
      </a:accent5>
      <a:accent6>
        <a:srgbClr val="404040"/>
      </a:accent6>
      <a:hlink>
        <a:srgbClr val="FF6600"/>
      </a:hlink>
      <a:folHlink>
        <a:srgbClr val="909473"/>
      </a:folHlink>
    </a:clrScheme>
    <a:fontScheme name="Custom 30">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MBR_Jan 22_v1" id="{81372DDE-F7B0-48FF-9B2F-B6CAFBCFBF6C}" vid="{94CDC6AE-3EAC-4308-B00B-01C302E9C12B}"/>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BF23033ADD2CC44581BA464AC24AB4CD" ma:contentTypeVersion="18" ma:contentTypeDescription="Create a new document." ma:contentTypeScope="" ma:versionID="bfa97c90a71db97c80c59ca5c0ffda22">
  <xsd:schema xmlns:xsd="http://www.w3.org/2001/XMLSchema" xmlns:xs="http://www.w3.org/2001/XMLSchema" xmlns:p="http://schemas.microsoft.com/office/2006/metadata/properties" xmlns:ns3="d64320fb-f9a3-4131-8206-9d18da17abe9" xmlns:ns4="489eda54-cdc8-4a48-94a2-8f9cf8024289" targetNamespace="http://schemas.microsoft.com/office/2006/metadata/properties" ma:root="true" ma:fieldsID="be474ca7a15bf1e8a5e4b2eb5ea5d141" ns3:_="" ns4:_="">
    <xsd:import namespace="d64320fb-f9a3-4131-8206-9d18da17abe9"/>
    <xsd:import namespace="489eda54-cdc8-4a48-94a2-8f9cf8024289"/>
    <xsd:element name="properties">
      <xsd:complexType>
        <xsd:sequence>
          <xsd:element name="documentManagement">
            <xsd:complexType>
              <xsd:all>
                <xsd:element ref="ns3:MediaServiceMetadata" minOccurs="0"/>
                <xsd:element ref="ns3:MediaServiceFastMetadata" minOccurs="0"/>
                <xsd:element ref="ns3:MediaServiceAutoTags" minOccurs="0"/>
                <xsd:element ref="ns3:MediaServiceGenerationTime" minOccurs="0"/>
                <xsd:element ref="ns3:MediaServiceEventHashCode" minOccurs="0"/>
                <xsd:element ref="ns4:SharedWithUsers" minOccurs="0"/>
                <xsd:element ref="ns4:SharedWithDetails" minOccurs="0"/>
                <xsd:element ref="ns4:SharingHintHash" minOccurs="0"/>
                <xsd:element ref="ns3:MediaServiceDateTaken" minOccurs="0"/>
                <xsd:element ref="ns3:MediaLengthInSeconds" minOccurs="0"/>
                <xsd:element ref="ns3:MediaServiceOCR" minOccurs="0"/>
                <xsd:element ref="ns3:MediaServiceAutoKeyPoints" minOccurs="0"/>
                <xsd:element ref="ns3:MediaServiceKeyPoints" minOccurs="0"/>
                <xsd:element ref="ns3:_activity" minOccurs="0"/>
                <xsd:element ref="ns3:MediaServiceObjectDetectorVersions" minOccurs="0"/>
                <xsd:element ref="ns3:MediaServiceLocation" minOccurs="0"/>
                <xsd:element ref="ns3:MediaServiceSystemTags" minOccurs="0"/>
                <xsd:element ref="ns3: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64320fb-f9a3-4131-8206-9d18da17abe9"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description="" ma:hidden="true" ma:indexed="true" ma:internalName="MediaServiceDateTaken" ma:readOnly="true">
      <xsd:simpleType>
        <xsd:restriction base="dms:Text"/>
      </xsd:simpleType>
    </xsd:element>
    <xsd:element name="MediaLengthInSeconds" ma:index="17" nillable="true" ma:displayName="MediaLengthInSeconds" ma:hidden="true" ma:internalName="MediaLengthInSeconds" ma:readOnly="true">
      <xsd:simpleType>
        <xsd:restriction base="dms:Unknown"/>
      </xsd:simpleType>
    </xsd:element>
    <xsd:element name="MediaServiceOCR" ma:index="18" nillable="true" ma:displayName="Extracted Text" ma:internalName="MediaServiceOCR" ma:readOnly="true">
      <xsd:simpleType>
        <xsd:restriction base="dms:Note">
          <xsd:maxLength value="255"/>
        </xsd:restriction>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element name="_activity" ma:index="21" nillable="true" ma:displayName="_activity" ma:hidden="true" ma:internalName="_activity">
      <xsd:simpleType>
        <xsd:restriction base="dms:Note"/>
      </xsd:simple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Location" ma:index="23" nillable="true" ma:displayName="Location" ma:indexed="true" ma:internalName="MediaServiceLocation" ma:readOnly="true">
      <xsd:simpleType>
        <xsd:restriction base="dms:Text"/>
      </xsd:simpleType>
    </xsd:element>
    <xsd:element name="MediaServiceSystemTags" ma:index="24" nillable="true" ma:displayName="MediaServiceSystemTags" ma:hidden="true" ma:internalName="MediaServiceSystemTags" ma:readOnly="true">
      <xsd:simpleType>
        <xsd:restriction base="dms:Note"/>
      </xsd:simpleType>
    </xsd:element>
    <xsd:element name="MediaServiceSearchProperties" ma:index="25"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89eda54-cdc8-4a48-94a2-8f9cf8024289" elementFormDefault="qualified">
    <xsd:import namespace="http://schemas.microsoft.com/office/2006/documentManagement/types"/>
    <xsd:import namespace="http://schemas.microsoft.com/office/infopath/2007/PartnerControls"/>
    <xsd:element name="SharedWithUsers" ma:index="13"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4" nillable="true" ma:displayName="Shared With Details" ma:internalName="SharedWithDetails" ma:readOnly="true">
      <xsd:simpleType>
        <xsd:restriction base="dms:Note">
          <xsd:maxLength value="255"/>
        </xsd:restriction>
      </xsd:simpleType>
    </xsd:element>
    <xsd:element name="SharingHintHash" ma:index="15"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_activity xmlns="d64320fb-f9a3-4131-8206-9d18da17abe9" xsi:nil="true"/>
  </documentManagement>
</p:properties>
</file>

<file path=customXml/itemProps1.xml><?xml version="1.0" encoding="utf-8"?>
<ds:datastoreItem xmlns:ds="http://schemas.openxmlformats.org/officeDocument/2006/customXml" ds:itemID="{912B7AD5-CBD7-462B-BC8B-1E0D74017F5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d64320fb-f9a3-4131-8206-9d18da17abe9"/>
    <ds:schemaRef ds:uri="489eda54-cdc8-4a48-94a2-8f9cf802428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911617EF-9A33-49DD-BF18-3F75C7B3CC29}">
  <ds:schemaRefs>
    <ds:schemaRef ds:uri="http://schemas.microsoft.com/sharepoint/v3/contenttype/forms"/>
  </ds:schemaRefs>
</ds:datastoreItem>
</file>

<file path=customXml/itemProps3.xml><?xml version="1.0" encoding="utf-8"?>
<ds:datastoreItem xmlns:ds="http://schemas.openxmlformats.org/officeDocument/2006/customXml" ds:itemID="{1DADF44A-8650-472F-B2D9-50E27F0769F7}">
  <ds:schemaRefs>
    <ds:schemaRef ds:uri="http://purl.org/dc/terms/"/>
    <ds:schemaRef ds:uri="http://purl.org/dc/elements/1.1/"/>
    <ds:schemaRef ds:uri="http://schemas.microsoft.com/office/2006/documentManagement/types"/>
    <ds:schemaRef ds:uri="http://schemas.openxmlformats.org/package/2006/metadata/core-properties"/>
    <ds:schemaRef ds:uri="d64320fb-f9a3-4131-8206-9d18da17abe9"/>
    <ds:schemaRef ds:uri="http://purl.org/dc/dcmitype/"/>
    <ds:schemaRef ds:uri="http://schemas.microsoft.com/office/infopath/2007/PartnerControls"/>
    <ds:schemaRef ds:uri="489eda54-cdc8-4a48-94a2-8f9cf8024289"/>
    <ds:schemaRef ds:uri="http://schemas.microsoft.com/office/2006/metadata/properties"/>
    <ds:schemaRef ds:uri="http://www.w3.org/XML/1998/namespace"/>
  </ds:schemaRefs>
</ds:datastoreItem>
</file>

<file path=docMetadata/LabelInfo.xml><?xml version="1.0" encoding="utf-8"?>
<clbl:labelList xmlns:clbl="http://schemas.microsoft.com/office/2020/mipLabelMetadata">
  <clbl:label id="{d0cb1e24-a0e2-4a4c-9340-733297c9cd7c}" enabled="1" method="Privileged" siteId="{db1e96a8-a3da-442a-930b-235cac24cd5c}" removed="0"/>
</clbl:labelList>
</file>

<file path=docProps/app.xml><?xml version="1.0" encoding="utf-8"?>
<Properties xmlns="http://schemas.openxmlformats.org/officeDocument/2006/extended-properties" xmlns:vt="http://schemas.openxmlformats.org/officeDocument/2006/docPropsVTypes">
  <Template/>
  <TotalTime>19870</TotalTime>
  <Words>835</Words>
  <Application>Microsoft Office PowerPoint</Application>
  <PresentationFormat>Widescreen</PresentationFormat>
  <Paragraphs>104</Paragraphs>
  <Slides>22</Slides>
  <Notes>0</Notes>
  <HiddenSlides>0</HiddenSlides>
  <MMClips>0</MMClips>
  <ScaleCrop>false</ScaleCrop>
  <HeadingPairs>
    <vt:vector size="8" baseType="variant">
      <vt:variant>
        <vt:lpstr>Fonts Used</vt:lpstr>
      </vt:variant>
      <vt:variant>
        <vt:i4>2</vt:i4>
      </vt:variant>
      <vt:variant>
        <vt:lpstr>Theme</vt:lpstr>
      </vt:variant>
      <vt:variant>
        <vt:i4>1</vt:i4>
      </vt:variant>
      <vt:variant>
        <vt:lpstr>Embedded OLE Servers</vt:lpstr>
      </vt:variant>
      <vt:variant>
        <vt:i4>1</vt:i4>
      </vt:variant>
      <vt:variant>
        <vt:lpstr>Slide Titles</vt:lpstr>
      </vt:variant>
      <vt:variant>
        <vt:i4>22</vt:i4>
      </vt:variant>
    </vt:vector>
  </HeadingPairs>
  <TitlesOfParts>
    <vt:vector size="26" baseType="lpstr">
      <vt:lpstr>Arial</vt:lpstr>
      <vt:lpstr>Calibri</vt:lpstr>
      <vt:lpstr>Office Theme</vt:lpstr>
      <vt:lpstr>think-cell Slide</vt:lpstr>
      <vt:lpstr>PowerPoint Presentation</vt:lpstr>
      <vt:lpstr>About Me</vt:lpstr>
      <vt:lpstr>PowerPoint Presentation</vt:lpstr>
      <vt:lpstr>Day 1 | My takeaways</vt:lpstr>
      <vt:lpstr>Day 2 | My takeaways</vt:lpstr>
      <vt:lpstr>Day 3 | My takeaways</vt:lpstr>
      <vt:lpstr>Day 4 | My takeaways</vt:lpstr>
      <vt:lpstr>Day 5 | My takeaways</vt:lpstr>
      <vt:lpstr>PowerPoint Presentation</vt:lpstr>
      <vt:lpstr>Learning 1 | Relevance for Shell</vt:lpstr>
      <vt:lpstr>Learning 2 | Relevance for Shell</vt:lpstr>
      <vt:lpstr>Learning 3 | Relevance for Shell</vt:lpstr>
      <vt:lpstr>PowerPoint Presentation</vt:lpstr>
      <vt:lpstr>Challenge faced while implementing Learning 1</vt:lpstr>
      <vt:lpstr>Challenge faced while implementing Learning 2</vt:lpstr>
      <vt:lpstr>Challenge faced while implementing Learning 3</vt:lpstr>
      <vt:lpstr>PowerPoint Presentation</vt:lpstr>
      <vt:lpstr>My Action Plan for this Week</vt:lpstr>
      <vt:lpstr>PowerPoint Presentation</vt:lpstr>
      <vt:lpstr>Learning is also Fun!</vt:lpstr>
      <vt:lpstr>Summary</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urugesh Chandran</dc:creator>
  <cp:lastModifiedBy>Chakraborty, Rohita SBOBNG-PTIY/TCBC</cp:lastModifiedBy>
  <cp:revision>499</cp:revision>
  <dcterms:created xsi:type="dcterms:W3CDTF">2022-01-18T12:35:56Z</dcterms:created>
  <dcterms:modified xsi:type="dcterms:W3CDTF">2024-08-30T14:48:4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Created">
    <vt:lpwstr>2022-01-18 01:04 PM</vt:lpwstr>
  </property>
  <property fmtid="{D5CDD505-2E9C-101B-9397-08002B2CF9AE}" pid="3" name="TemplateLastEdited">
    <vt:lpwstr>2022-01-18 06:01 PM</vt:lpwstr>
  </property>
  <property fmtid="{D5CDD505-2E9C-101B-9397-08002B2CF9AE}" pid="4" name="ContentTypeId">
    <vt:lpwstr>0x010100BF23033ADD2CC44581BA464AC24AB4CD</vt:lpwstr>
  </property>
</Properties>
</file>